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13" r:id="rId4"/>
  </p:sldMasterIdLst>
  <p:notesMasterIdLst>
    <p:notesMasterId r:id="rId22"/>
  </p:notesMasterIdLst>
  <p:sldIdLst>
    <p:sldId id="853" r:id="rId5"/>
    <p:sldId id="781" r:id="rId6"/>
    <p:sldId id="861" r:id="rId7"/>
    <p:sldId id="278" r:id="rId8"/>
    <p:sldId id="263" r:id="rId9"/>
    <p:sldId id="850" r:id="rId10"/>
    <p:sldId id="265" r:id="rId11"/>
    <p:sldId id="862" r:id="rId12"/>
    <p:sldId id="870" r:id="rId13"/>
    <p:sldId id="868" r:id="rId14"/>
    <p:sldId id="849" r:id="rId15"/>
    <p:sldId id="865" r:id="rId16"/>
    <p:sldId id="864" r:id="rId17"/>
    <p:sldId id="866" r:id="rId18"/>
    <p:sldId id="851" r:id="rId19"/>
    <p:sldId id="867" r:id="rId20"/>
    <p:sldId id="869" r:id="rId21"/>
  </p:sldIdLst>
  <p:sldSz cx="12192000" cy="6858000"/>
  <p:notesSz cx="6735763" cy="9866313"/>
  <p:embeddedFontLst>
    <p:embeddedFont>
      <p:font typeface="Arial Narrow Regular" panose="020B0604020202020204" charset="0"/>
      <p:regular r:id="rId23"/>
      <p:bold r:id="rId24"/>
      <p:italic r:id="rId25"/>
      <p:boldItalic r:id="rId26"/>
    </p:embeddedFont>
    <p:embeddedFont>
      <p:font typeface="Century Gothic" panose="020B0502020202020204" pitchFamily="34" charset="0"/>
      <p:regular r:id="rId27"/>
      <p:bold r:id="rId28"/>
      <p:italic r:id="rId29"/>
      <p:boldItalic r:id="rId30"/>
    </p:embeddedFont>
    <p:embeddedFont>
      <p:font typeface="Oswald" panose="00000500000000000000" pitchFamily="2" charset="0"/>
      <p:regular r:id="rId31"/>
      <p:bold r:id="rId32"/>
      <p:italic r:id="rId33"/>
      <p:boldItalic r:id="rId34"/>
    </p:embeddedFont>
    <p:embeddedFont>
      <p:font typeface="Oswald Light" panose="00000400000000000000" pitchFamily="2" charset="0"/>
      <p:regular r:id="rId35"/>
    </p:embeddedFont>
  </p:embeddedFontLst>
  <p:defaultTextStyle>
    <a:defPPr>
      <a:defRPr lang="en-US"/>
    </a:defPPr>
    <a:lvl1pPr algn="l" defTabSz="609585" rtl="0" fontAlgn="base">
      <a:spcBef>
        <a:spcPct val="0"/>
      </a:spcBef>
      <a:spcAft>
        <a:spcPct val="0"/>
      </a:spcAft>
      <a:defRPr kern="1200">
        <a:solidFill>
          <a:schemeClr val="tx1"/>
        </a:solidFill>
        <a:latin typeface="Century Gothic" charset="0"/>
        <a:ea typeface="ＭＳ Ｐゴシック" charset="0"/>
        <a:cs typeface="ＭＳ Ｐゴシック" charset="0"/>
      </a:defRPr>
    </a:lvl1pPr>
    <a:lvl2pPr marL="609585" algn="l" defTabSz="609585" rtl="0" fontAlgn="base">
      <a:spcBef>
        <a:spcPct val="0"/>
      </a:spcBef>
      <a:spcAft>
        <a:spcPct val="0"/>
      </a:spcAft>
      <a:defRPr kern="1200">
        <a:solidFill>
          <a:schemeClr val="tx1"/>
        </a:solidFill>
        <a:latin typeface="Century Gothic" charset="0"/>
        <a:ea typeface="ＭＳ Ｐゴシック" charset="0"/>
        <a:cs typeface="ＭＳ Ｐゴシック" charset="0"/>
      </a:defRPr>
    </a:lvl2pPr>
    <a:lvl3pPr marL="1219170" algn="l" defTabSz="609585" rtl="0" fontAlgn="base">
      <a:spcBef>
        <a:spcPct val="0"/>
      </a:spcBef>
      <a:spcAft>
        <a:spcPct val="0"/>
      </a:spcAft>
      <a:defRPr kern="1200">
        <a:solidFill>
          <a:schemeClr val="tx1"/>
        </a:solidFill>
        <a:latin typeface="Century Gothic" charset="0"/>
        <a:ea typeface="ＭＳ Ｐゴシック" charset="0"/>
        <a:cs typeface="ＭＳ Ｐゴシック" charset="0"/>
      </a:defRPr>
    </a:lvl3pPr>
    <a:lvl4pPr marL="1828754" algn="l" defTabSz="609585" rtl="0" fontAlgn="base">
      <a:spcBef>
        <a:spcPct val="0"/>
      </a:spcBef>
      <a:spcAft>
        <a:spcPct val="0"/>
      </a:spcAft>
      <a:defRPr kern="1200">
        <a:solidFill>
          <a:schemeClr val="tx1"/>
        </a:solidFill>
        <a:latin typeface="Century Gothic" charset="0"/>
        <a:ea typeface="ＭＳ Ｐゴシック" charset="0"/>
        <a:cs typeface="ＭＳ Ｐゴシック" charset="0"/>
      </a:defRPr>
    </a:lvl4pPr>
    <a:lvl5pPr marL="2438339" algn="l" defTabSz="609585" rtl="0" fontAlgn="base">
      <a:spcBef>
        <a:spcPct val="0"/>
      </a:spcBef>
      <a:spcAft>
        <a:spcPct val="0"/>
      </a:spcAft>
      <a:defRPr kern="1200">
        <a:solidFill>
          <a:schemeClr val="tx1"/>
        </a:solidFill>
        <a:latin typeface="Century Gothic" charset="0"/>
        <a:ea typeface="ＭＳ Ｐゴシック" charset="0"/>
        <a:cs typeface="ＭＳ Ｐゴシック" charset="0"/>
      </a:defRPr>
    </a:lvl5pPr>
    <a:lvl6pPr marL="3047924" algn="l" defTabSz="609585" rtl="0" eaLnBrk="1" latinLnBrk="0" hangingPunct="1">
      <a:defRPr kern="1200">
        <a:solidFill>
          <a:schemeClr val="tx1"/>
        </a:solidFill>
        <a:latin typeface="Century Gothic" charset="0"/>
        <a:ea typeface="ＭＳ Ｐゴシック" charset="0"/>
        <a:cs typeface="ＭＳ Ｐゴシック" charset="0"/>
      </a:defRPr>
    </a:lvl6pPr>
    <a:lvl7pPr marL="3657509" algn="l" defTabSz="609585" rtl="0" eaLnBrk="1" latinLnBrk="0" hangingPunct="1">
      <a:defRPr kern="1200">
        <a:solidFill>
          <a:schemeClr val="tx1"/>
        </a:solidFill>
        <a:latin typeface="Century Gothic" charset="0"/>
        <a:ea typeface="ＭＳ Ｐゴシック" charset="0"/>
        <a:cs typeface="ＭＳ Ｐゴシック" charset="0"/>
      </a:defRPr>
    </a:lvl7pPr>
    <a:lvl8pPr marL="4267093" algn="l" defTabSz="609585" rtl="0" eaLnBrk="1" latinLnBrk="0" hangingPunct="1">
      <a:defRPr kern="1200">
        <a:solidFill>
          <a:schemeClr val="tx1"/>
        </a:solidFill>
        <a:latin typeface="Century Gothic" charset="0"/>
        <a:ea typeface="ＭＳ Ｐゴシック" charset="0"/>
        <a:cs typeface="ＭＳ Ｐゴシック" charset="0"/>
      </a:defRPr>
    </a:lvl8pPr>
    <a:lvl9pPr marL="4876678" algn="l" defTabSz="609585" rtl="0" eaLnBrk="1" latinLnBrk="0" hangingPunct="1">
      <a:defRPr kern="1200">
        <a:solidFill>
          <a:schemeClr val="tx1"/>
        </a:solidFill>
        <a:latin typeface="Century Gothic" charset="0"/>
        <a:ea typeface="ＭＳ Ｐゴシック" charset="0"/>
        <a:cs typeface="ＭＳ Ｐゴシック" charset="0"/>
      </a:defRPr>
    </a:lvl9pPr>
  </p:defaultTextStyle>
  <p:extLst>
    <p:ext uri="{521415D9-36F7-43E2-AB2F-B90AF26B5E84}">
      <p14:sectionLst xmlns:p14="http://schemas.microsoft.com/office/powerpoint/2010/main">
        <p14:section name="Intro" id="{DEC2DD3F-5A72-EF43-B8DD-2D0242991E10}">
          <p14:sldIdLst>
            <p14:sldId id="853"/>
            <p14:sldId id="781"/>
            <p14:sldId id="861"/>
            <p14:sldId id="278"/>
            <p14:sldId id="263"/>
            <p14:sldId id="850"/>
            <p14:sldId id="265"/>
            <p14:sldId id="862"/>
            <p14:sldId id="870"/>
            <p14:sldId id="868"/>
            <p14:sldId id="849"/>
            <p14:sldId id="865"/>
            <p14:sldId id="864"/>
            <p14:sldId id="866"/>
            <p14:sldId id="851"/>
            <p14:sldId id="867"/>
            <p14:sldId id="869"/>
          </p14:sldIdLst>
        </p14:section>
        <p14:section name="Content" id="{D0CC0D2E-5795-BF40-B632-6FE913EA3A66}">
          <p14:sldIdLst/>
        </p14:section>
        <p14:section name="Device Mockups" id="{766647B7-EB54-6148-A574-5B3982817491}">
          <p14:sldIdLst/>
        </p14:section>
        <p14:section name="Useful logos" id="{B569C3C5-0420-BD47-89DE-1E335337C36A}">
          <p14:sldIdLst/>
        </p14:section>
        <p14:section name="Icons" id="{45E84414-029F-6140-AD68-B6721C8E4E0A}">
          <p14:sldIdLst/>
        </p14:section>
        <p14:section name="Conclusion" id="{43B1EE90-949C-154B-A537-81E70893A54F}">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07" userDrawn="1">
          <p15:clr>
            <a:srgbClr val="A4A3A4"/>
          </p15:clr>
        </p15:guide>
        <p15:guide id="2" pos="212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5001B"/>
    <a:srgbClr val="7F7F7F"/>
    <a:srgbClr val="505050"/>
    <a:srgbClr val="ED1C23"/>
    <a:srgbClr val="02B0A8"/>
    <a:srgbClr val="5E91BC"/>
    <a:srgbClr val="A982BA"/>
    <a:srgbClr val="FFB42D"/>
    <a:srgbClr val="CB4A32"/>
    <a:srgbClr val="FFB94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DCC2B8-A6FD-4F2F-8F3E-9B1CDC3DBDC2}" v="4" dt="2022-07-28T08:41:56.9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3" autoAdjust="0"/>
    <p:restoredTop sz="96190"/>
  </p:normalViewPr>
  <p:slideViewPr>
    <p:cSldViewPr snapToGrid="0" snapToObjects="1">
      <p:cViewPr varScale="1">
        <p:scale>
          <a:sx n="114" d="100"/>
          <a:sy n="114" d="100"/>
        </p:scale>
        <p:origin x="360" y="10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snapToObjects="1" showGuides="1">
      <p:cViewPr varScale="1">
        <p:scale>
          <a:sx n="158" d="100"/>
          <a:sy n="158" d="100"/>
        </p:scale>
        <p:origin x="5704" y="200"/>
      </p:cViewPr>
      <p:guideLst>
        <p:guide orient="horz" pos="3107"/>
        <p:guide pos="212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4.fntdata"/><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font" Target="fonts/font12.fntdata"/><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7.fntdata"/><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ederico Forti (Annalect UK)" userId="95dd6b21-b4ac-4cef-b63e-89b200a05b54" providerId="ADAL" clId="{6D614808-3D99-41FC-A781-132C57B983DC}"/>
    <pc:docChg chg="undo custSel addSld delSld modSld sldOrd modMainMaster modSection">
      <pc:chgData name="Federico Forti (Annalect UK)" userId="95dd6b21-b4ac-4cef-b63e-89b200a05b54" providerId="ADAL" clId="{6D614808-3D99-41FC-A781-132C57B983DC}" dt="2022-01-11T14:05:01.359" v="3043" actId="1076"/>
      <pc:docMkLst>
        <pc:docMk/>
      </pc:docMkLst>
      <pc:sldChg chg="addSp delSp modSp mod">
        <pc:chgData name="Federico Forti (Annalect UK)" userId="95dd6b21-b4ac-4cef-b63e-89b200a05b54" providerId="ADAL" clId="{6D614808-3D99-41FC-A781-132C57B983DC}" dt="2022-01-11T09:51:35.793" v="2533" actId="167"/>
        <pc:sldMkLst>
          <pc:docMk/>
          <pc:sldMk cId="477161522" sldId="278"/>
        </pc:sldMkLst>
        <pc:spChg chg="add del mod">
          <ac:chgData name="Federico Forti (Annalect UK)" userId="95dd6b21-b4ac-4cef-b63e-89b200a05b54" providerId="ADAL" clId="{6D614808-3D99-41FC-A781-132C57B983DC}" dt="2022-01-11T09:51:19.701" v="2528" actId="478"/>
          <ac:spMkLst>
            <pc:docMk/>
            <pc:sldMk cId="477161522" sldId="278"/>
            <ac:spMk id="2" creationId="{FE60FCF2-136C-4C5D-A316-CEC2D5C6EE6A}"/>
          </ac:spMkLst>
        </pc:spChg>
        <pc:spChg chg="add del">
          <ac:chgData name="Federico Forti (Annalect UK)" userId="95dd6b21-b4ac-4cef-b63e-89b200a05b54" providerId="ADAL" clId="{6D614808-3D99-41FC-A781-132C57B983DC}" dt="2022-01-11T09:50:58.559" v="2515" actId="11529"/>
          <ac:spMkLst>
            <pc:docMk/>
            <pc:sldMk cId="477161522" sldId="278"/>
            <ac:spMk id="3" creationId="{3FEE5479-D02D-450C-AB56-FA2B6EDD7CDE}"/>
          </ac:spMkLst>
        </pc:spChg>
        <pc:spChg chg="add mod ord">
          <ac:chgData name="Federico Forti (Annalect UK)" userId="95dd6b21-b4ac-4cef-b63e-89b200a05b54" providerId="ADAL" clId="{6D614808-3D99-41FC-A781-132C57B983DC}" dt="2022-01-11T09:51:35.793" v="2533" actId="167"/>
          <ac:spMkLst>
            <pc:docMk/>
            <pc:sldMk cId="477161522" sldId="278"/>
            <ac:spMk id="4" creationId="{00231BE4-C953-4DD5-B154-C98C5AF3E8F7}"/>
          </ac:spMkLst>
        </pc:spChg>
      </pc:sldChg>
      <pc:sldChg chg="del">
        <pc:chgData name="Federico Forti (Annalect UK)" userId="95dd6b21-b4ac-4cef-b63e-89b200a05b54" providerId="ADAL" clId="{6D614808-3D99-41FC-A781-132C57B983DC}" dt="2022-01-10T17:35:32.668" v="2401" actId="47"/>
        <pc:sldMkLst>
          <pc:docMk/>
          <pc:sldMk cId="2770503658" sldId="760"/>
        </pc:sldMkLst>
      </pc:sldChg>
      <pc:sldChg chg="del">
        <pc:chgData name="Federico Forti (Annalect UK)" userId="95dd6b21-b4ac-4cef-b63e-89b200a05b54" providerId="ADAL" clId="{6D614808-3D99-41FC-A781-132C57B983DC}" dt="2022-01-10T17:35:32.668" v="2401" actId="47"/>
        <pc:sldMkLst>
          <pc:docMk/>
          <pc:sldMk cId="1811176125" sldId="769"/>
        </pc:sldMkLst>
      </pc:sldChg>
      <pc:sldChg chg="del">
        <pc:chgData name="Federico Forti (Annalect UK)" userId="95dd6b21-b4ac-4cef-b63e-89b200a05b54" providerId="ADAL" clId="{6D614808-3D99-41FC-A781-132C57B983DC}" dt="2022-01-10T17:35:32.668" v="2401" actId="47"/>
        <pc:sldMkLst>
          <pc:docMk/>
          <pc:sldMk cId="2879079504" sldId="771"/>
        </pc:sldMkLst>
      </pc:sldChg>
      <pc:sldChg chg="del">
        <pc:chgData name="Federico Forti (Annalect UK)" userId="95dd6b21-b4ac-4cef-b63e-89b200a05b54" providerId="ADAL" clId="{6D614808-3D99-41FC-A781-132C57B983DC}" dt="2022-01-10T17:35:32.668" v="2401" actId="47"/>
        <pc:sldMkLst>
          <pc:docMk/>
          <pc:sldMk cId="494798133" sldId="772"/>
        </pc:sldMkLst>
      </pc:sldChg>
      <pc:sldChg chg="del">
        <pc:chgData name="Federico Forti (Annalect UK)" userId="95dd6b21-b4ac-4cef-b63e-89b200a05b54" providerId="ADAL" clId="{6D614808-3D99-41FC-A781-132C57B983DC}" dt="2022-01-10T17:35:32.668" v="2401" actId="47"/>
        <pc:sldMkLst>
          <pc:docMk/>
          <pc:sldMk cId="123967709" sldId="775"/>
        </pc:sldMkLst>
      </pc:sldChg>
      <pc:sldChg chg="del">
        <pc:chgData name="Federico Forti (Annalect UK)" userId="95dd6b21-b4ac-4cef-b63e-89b200a05b54" providerId="ADAL" clId="{6D614808-3D99-41FC-A781-132C57B983DC}" dt="2022-01-10T17:35:32.668" v="2401" actId="47"/>
        <pc:sldMkLst>
          <pc:docMk/>
          <pc:sldMk cId="3836157874" sldId="777"/>
        </pc:sldMkLst>
      </pc:sldChg>
      <pc:sldChg chg="del">
        <pc:chgData name="Federico Forti (Annalect UK)" userId="95dd6b21-b4ac-4cef-b63e-89b200a05b54" providerId="ADAL" clId="{6D614808-3D99-41FC-A781-132C57B983DC}" dt="2022-01-10T17:35:32.668" v="2401" actId="47"/>
        <pc:sldMkLst>
          <pc:docMk/>
          <pc:sldMk cId="2210434246" sldId="778"/>
        </pc:sldMkLst>
      </pc:sldChg>
      <pc:sldChg chg="del">
        <pc:chgData name="Federico Forti (Annalect UK)" userId="95dd6b21-b4ac-4cef-b63e-89b200a05b54" providerId="ADAL" clId="{6D614808-3D99-41FC-A781-132C57B983DC}" dt="2022-01-10T17:35:32.668" v="2401" actId="47"/>
        <pc:sldMkLst>
          <pc:docMk/>
          <pc:sldMk cId="2190374566" sldId="780"/>
        </pc:sldMkLst>
      </pc:sldChg>
      <pc:sldChg chg="del">
        <pc:chgData name="Federico Forti (Annalect UK)" userId="95dd6b21-b4ac-4cef-b63e-89b200a05b54" providerId="ADAL" clId="{6D614808-3D99-41FC-A781-132C57B983DC}" dt="2022-01-10T17:35:32.668" v="2401" actId="47"/>
        <pc:sldMkLst>
          <pc:docMk/>
          <pc:sldMk cId="264114544" sldId="784"/>
        </pc:sldMkLst>
      </pc:sldChg>
      <pc:sldChg chg="del">
        <pc:chgData name="Federico Forti (Annalect UK)" userId="95dd6b21-b4ac-4cef-b63e-89b200a05b54" providerId="ADAL" clId="{6D614808-3D99-41FC-A781-132C57B983DC}" dt="2022-01-10T17:35:32.668" v="2401" actId="47"/>
        <pc:sldMkLst>
          <pc:docMk/>
          <pc:sldMk cId="391239761" sldId="785"/>
        </pc:sldMkLst>
      </pc:sldChg>
      <pc:sldChg chg="del">
        <pc:chgData name="Federico Forti (Annalect UK)" userId="95dd6b21-b4ac-4cef-b63e-89b200a05b54" providerId="ADAL" clId="{6D614808-3D99-41FC-A781-132C57B983DC}" dt="2022-01-10T17:35:32.668" v="2401" actId="47"/>
        <pc:sldMkLst>
          <pc:docMk/>
          <pc:sldMk cId="1350769635" sldId="786"/>
        </pc:sldMkLst>
      </pc:sldChg>
      <pc:sldChg chg="del">
        <pc:chgData name="Federico Forti (Annalect UK)" userId="95dd6b21-b4ac-4cef-b63e-89b200a05b54" providerId="ADAL" clId="{6D614808-3D99-41FC-A781-132C57B983DC}" dt="2022-01-10T17:35:32.668" v="2401" actId="47"/>
        <pc:sldMkLst>
          <pc:docMk/>
          <pc:sldMk cId="414707594" sldId="789"/>
        </pc:sldMkLst>
      </pc:sldChg>
      <pc:sldChg chg="del">
        <pc:chgData name="Federico Forti (Annalect UK)" userId="95dd6b21-b4ac-4cef-b63e-89b200a05b54" providerId="ADAL" clId="{6D614808-3D99-41FC-A781-132C57B983DC}" dt="2022-01-10T17:35:32.668" v="2401" actId="47"/>
        <pc:sldMkLst>
          <pc:docMk/>
          <pc:sldMk cId="847916144" sldId="790"/>
        </pc:sldMkLst>
      </pc:sldChg>
      <pc:sldChg chg="del">
        <pc:chgData name="Federico Forti (Annalect UK)" userId="95dd6b21-b4ac-4cef-b63e-89b200a05b54" providerId="ADAL" clId="{6D614808-3D99-41FC-A781-132C57B983DC}" dt="2022-01-10T17:35:32.668" v="2401" actId="47"/>
        <pc:sldMkLst>
          <pc:docMk/>
          <pc:sldMk cId="2992738606" sldId="791"/>
        </pc:sldMkLst>
      </pc:sldChg>
      <pc:sldChg chg="del">
        <pc:chgData name="Federico Forti (Annalect UK)" userId="95dd6b21-b4ac-4cef-b63e-89b200a05b54" providerId="ADAL" clId="{6D614808-3D99-41FC-A781-132C57B983DC}" dt="2022-01-10T17:35:32.668" v="2401" actId="47"/>
        <pc:sldMkLst>
          <pc:docMk/>
          <pc:sldMk cId="782685830" sldId="792"/>
        </pc:sldMkLst>
      </pc:sldChg>
      <pc:sldChg chg="del">
        <pc:chgData name="Federico Forti (Annalect UK)" userId="95dd6b21-b4ac-4cef-b63e-89b200a05b54" providerId="ADAL" clId="{6D614808-3D99-41FC-A781-132C57B983DC}" dt="2022-01-10T17:35:32.668" v="2401" actId="47"/>
        <pc:sldMkLst>
          <pc:docMk/>
          <pc:sldMk cId="3497010995" sldId="793"/>
        </pc:sldMkLst>
      </pc:sldChg>
      <pc:sldChg chg="del">
        <pc:chgData name="Federico Forti (Annalect UK)" userId="95dd6b21-b4ac-4cef-b63e-89b200a05b54" providerId="ADAL" clId="{6D614808-3D99-41FC-A781-132C57B983DC}" dt="2022-01-10T17:35:32.668" v="2401" actId="47"/>
        <pc:sldMkLst>
          <pc:docMk/>
          <pc:sldMk cId="1314160195" sldId="794"/>
        </pc:sldMkLst>
      </pc:sldChg>
      <pc:sldChg chg="del">
        <pc:chgData name="Federico Forti (Annalect UK)" userId="95dd6b21-b4ac-4cef-b63e-89b200a05b54" providerId="ADAL" clId="{6D614808-3D99-41FC-A781-132C57B983DC}" dt="2022-01-10T17:35:32.668" v="2401" actId="47"/>
        <pc:sldMkLst>
          <pc:docMk/>
          <pc:sldMk cId="315975042" sldId="795"/>
        </pc:sldMkLst>
      </pc:sldChg>
      <pc:sldChg chg="del">
        <pc:chgData name="Federico Forti (Annalect UK)" userId="95dd6b21-b4ac-4cef-b63e-89b200a05b54" providerId="ADAL" clId="{6D614808-3D99-41FC-A781-132C57B983DC}" dt="2022-01-10T17:35:32.668" v="2401" actId="47"/>
        <pc:sldMkLst>
          <pc:docMk/>
          <pc:sldMk cId="2437882617" sldId="796"/>
        </pc:sldMkLst>
      </pc:sldChg>
      <pc:sldChg chg="del">
        <pc:chgData name="Federico Forti (Annalect UK)" userId="95dd6b21-b4ac-4cef-b63e-89b200a05b54" providerId="ADAL" clId="{6D614808-3D99-41FC-A781-132C57B983DC}" dt="2022-01-10T17:35:32.668" v="2401" actId="47"/>
        <pc:sldMkLst>
          <pc:docMk/>
          <pc:sldMk cId="2282131622" sldId="797"/>
        </pc:sldMkLst>
      </pc:sldChg>
      <pc:sldChg chg="del">
        <pc:chgData name="Federico Forti (Annalect UK)" userId="95dd6b21-b4ac-4cef-b63e-89b200a05b54" providerId="ADAL" clId="{6D614808-3D99-41FC-A781-132C57B983DC}" dt="2022-01-10T17:35:32.668" v="2401" actId="47"/>
        <pc:sldMkLst>
          <pc:docMk/>
          <pc:sldMk cId="4291288762" sldId="798"/>
        </pc:sldMkLst>
      </pc:sldChg>
      <pc:sldChg chg="del">
        <pc:chgData name="Federico Forti (Annalect UK)" userId="95dd6b21-b4ac-4cef-b63e-89b200a05b54" providerId="ADAL" clId="{6D614808-3D99-41FC-A781-132C57B983DC}" dt="2022-01-10T17:35:32.668" v="2401" actId="47"/>
        <pc:sldMkLst>
          <pc:docMk/>
          <pc:sldMk cId="4007510355" sldId="805"/>
        </pc:sldMkLst>
      </pc:sldChg>
      <pc:sldChg chg="del">
        <pc:chgData name="Federico Forti (Annalect UK)" userId="95dd6b21-b4ac-4cef-b63e-89b200a05b54" providerId="ADAL" clId="{6D614808-3D99-41FC-A781-132C57B983DC}" dt="2022-01-10T17:35:32.668" v="2401" actId="47"/>
        <pc:sldMkLst>
          <pc:docMk/>
          <pc:sldMk cId="2657435398" sldId="806"/>
        </pc:sldMkLst>
      </pc:sldChg>
      <pc:sldChg chg="del">
        <pc:chgData name="Federico Forti (Annalect UK)" userId="95dd6b21-b4ac-4cef-b63e-89b200a05b54" providerId="ADAL" clId="{6D614808-3D99-41FC-A781-132C57B983DC}" dt="2022-01-10T17:35:32.668" v="2401" actId="47"/>
        <pc:sldMkLst>
          <pc:docMk/>
          <pc:sldMk cId="3839931114" sldId="808"/>
        </pc:sldMkLst>
      </pc:sldChg>
      <pc:sldChg chg="del">
        <pc:chgData name="Federico Forti (Annalect UK)" userId="95dd6b21-b4ac-4cef-b63e-89b200a05b54" providerId="ADAL" clId="{6D614808-3D99-41FC-A781-132C57B983DC}" dt="2022-01-10T17:35:32.668" v="2401" actId="47"/>
        <pc:sldMkLst>
          <pc:docMk/>
          <pc:sldMk cId="4061256439" sldId="809"/>
        </pc:sldMkLst>
      </pc:sldChg>
      <pc:sldChg chg="del">
        <pc:chgData name="Federico Forti (Annalect UK)" userId="95dd6b21-b4ac-4cef-b63e-89b200a05b54" providerId="ADAL" clId="{6D614808-3D99-41FC-A781-132C57B983DC}" dt="2022-01-10T17:35:32.668" v="2401" actId="47"/>
        <pc:sldMkLst>
          <pc:docMk/>
          <pc:sldMk cId="380143928" sldId="810"/>
        </pc:sldMkLst>
      </pc:sldChg>
      <pc:sldChg chg="del">
        <pc:chgData name="Federico Forti (Annalect UK)" userId="95dd6b21-b4ac-4cef-b63e-89b200a05b54" providerId="ADAL" clId="{6D614808-3D99-41FC-A781-132C57B983DC}" dt="2022-01-10T17:35:32.668" v="2401" actId="47"/>
        <pc:sldMkLst>
          <pc:docMk/>
          <pc:sldMk cId="2350815425" sldId="811"/>
        </pc:sldMkLst>
      </pc:sldChg>
      <pc:sldChg chg="del">
        <pc:chgData name="Federico Forti (Annalect UK)" userId="95dd6b21-b4ac-4cef-b63e-89b200a05b54" providerId="ADAL" clId="{6D614808-3D99-41FC-A781-132C57B983DC}" dt="2022-01-10T17:35:32.668" v="2401" actId="47"/>
        <pc:sldMkLst>
          <pc:docMk/>
          <pc:sldMk cId="3523501640" sldId="812"/>
        </pc:sldMkLst>
      </pc:sldChg>
      <pc:sldChg chg="del">
        <pc:chgData name="Federico Forti (Annalect UK)" userId="95dd6b21-b4ac-4cef-b63e-89b200a05b54" providerId="ADAL" clId="{6D614808-3D99-41FC-A781-132C57B983DC}" dt="2022-01-10T17:35:32.668" v="2401" actId="47"/>
        <pc:sldMkLst>
          <pc:docMk/>
          <pc:sldMk cId="2961869777" sldId="813"/>
        </pc:sldMkLst>
      </pc:sldChg>
      <pc:sldChg chg="del">
        <pc:chgData name="Federico Forti (Annalect UK)" userId="95dd6b21-b4ac-4cef-b63e-89b200a05b54" providerId="ADAL" clId="{6D614808-3D99-41FC-A781-132C57B983DC}" dt="2022-01-10T17:35:32.668" v="2401" actId="47"/>
        <pc:sldMkLst>
          <pc:docMk/>
          <pc:sldMk cId="194992053" sldId="836"/>
        </pc:sldMkLst>
      </pc:sldChg>
      <pc:sldChg chg="del">
        <pc:chgData name="Federico Forti (Annalect UK)" userId="95dd6b21-b4ac-4cef-b63e-89b200a05b54" providerId="ADAL" clId="{6D614808-3D99-41FC-A781-132C57B983DC}" dt="2022-01-10T17:35:32.668" v="2401" actId="47"/>
        <pc:sldMkLst>
          <pc:docMk/>
          <pc:sldMk cId="1194587017" sldId="837"/>
        </pc:sldMkLst>
      </pc:sldChg>
      <pc:sldChg chg="del">
        <pc:chgData name="Federico Forti (Annalect UK)" userId="95dd6b21-b4ac-4cef-b63e-89b200a05b54" providerId="ADAL" clId="{6D614808-3D99-41FC-A781-132C57B983DC}" dt="2022-01-10T17:35:32.668" v="2401" actId="47"/>
        <pc:sldMkLst>
          <pc:docMk/>
          <pc:sldMk cId="2240327460" sldId="838"/>
        </pc:sldMkLst>
      </pc:sldChg>
      <pc:sldChg chg="del">
        <pc:chgData name="Federico Forti (Annalect UK)" userId="95dd6b21-b4ac-4cef-b63e-89b200a05b54" providerId="ADAL" clId="{6D614808-3D99-41FC-A781-132C57B983DC}" dt="2022-01-10T17:35:32.668" v="2401" actId="47"/>
        <pc:sldMkLst>
          <pc:docMk/>
          <pc:sldMk cId="3196055585" sldId="839"/>
        </pc:sldMkLst>
      </pc:sldChg>
      <pc:sldChg chg="del">
        <pc:chgData name="Federico Forti (Annalect UK)" userId="95dd6b21-b4ac-4cef-b63e-89b200a05b54" providerId="ADAL" clId="{6D614808-3D99-41FC-A781-132C57B983DC}" dt="2022-01-10T17:35:32.668" v="2401" actId="47"/>
        <pc:sldMkLst>
          <pc:docMk/>
          <pc:sldMk cId="2978886019" sldId="840"/>
        </pc:sldMkLst>
      </pc:sldChg>
      <pc:sldChg chg="del">
        <pc:chgData name="Federico Forti (Annalect UK)" userId="95dd6b21-b4ac-4cef-b63e-89b200a05b54" providerId="ADAL" clId="{6D614808-3D99-41FC-A781-132C57B983DC}" dt="2022-01-10T17:35:32.668" v="2401" actId="47"/>
        <pc:sldMkLst>
          <pc:docMk/>
          <pc:sldMk cId="1659737176" sldId="841"/>
        </pc:sldMkLst>
      </pc:sldChg>
      <pc:sldChg chg="del">
        <pc:chgData name="Federico Forti (Annalect UK)" userId="95dd6b21-b4ac-4cef-b63e-89b200a05b54" providerId="ADAL" clId="{6D614808-3D99-41FC-A781-132C57B983DC}" dt="2022-01-10T17:35:32.668" v="2401" actId="47"/>
        <pc:sldMkLst>
          <pc:docMk/>
          <pc:sldMk cId="3248896557" sldId="842"/>
        </pc:sldMkLst>
      </pc:sldChg>
      <pc:sldChg chg="del">
        <pc:chgData name="Federico Forti (Annalect UK)" userId="95dd6b21-b4ac-4cef-b63e-89b200a05b54" providerId="ADAL" clId="{6D614808-3D99-41FC-A781-132C57B983DC}" dt="2022-01-10T17:35:32.668" v="2401" actId="47"/>
        <pc:sldMkLst>
          <pc:docMk/>
          <pc:sldMk cId="4189508719" sldId="845"/>
        </pc:sldMkLst>
      </pc:sldChg>
      <pc:sldChg chg="del">
        <pc:chgData name="Federico Forti (Annalect UK)" userId="95dd6b21-b4ac-4cef-b63e-89b200a05b54" providerId="ADAL" clId="{6D614808-3D99-41FC-A781-132C57B983DC}" dt="2022-01-10T17:35:32.668" v="2401" actId="47"/>
        <pc:sldMkLst>
          <pc:docMk/>
          <pc:sldMk cId="1968935094" sldId="846"/>
        </pc:sldMkLst>
      </pc:sldChg>
      <pc:sldChg chg="del">
        <pc:chgData name="Federico Forti (Annalect UK)" userId="95dd6b21-b4ac-4cef-b63e-89b200a05b54" providerId="ADAL" clId="{6D614808-3D99-41FC-A781-132C57B983DC}" dt="2022-01-10T17:35:32.668" v="2401" actId="47"/>
        <pc:sldMkLst>
          <pc:docMk/>
          <pc:sldMk cId="1671669882" sldId="847"/>
        </pc:sldMkLst>
      </pc:sldChg>
      <pc:sldChg chg="del">
        <pc:chgData name="Federico Forti (Annalect UK)" userId="95dd6b21-b4ac-4cef-b63e-89b200a05b54" providerId="ADAL" clId="{6D614808-3D99-41FC-A781-132C57B983DC}" dt="2022-01-10T17:35:32.668" v="2401" actId="47"/>
        <pc:sldMkLst>
          <pc:docMk/>
          <pc:sldMk cId="927627520" sldId="848"/>
        </pc:sldMkLst>
      </pc:sldChg>
      <pc:sldChg chg="modSp mod ord">
        <pc:chgData name="Federico Forti (Annalect UK)" userId="95dd6b21-b4ac-4cef-b63e-89b200a05b54" providerId="ADAL" clId="{6D614808-3D99-41FC-A781-132C57B983DC}" dt="2022-01-10T18:07:58.721" v="2476"/>
        <pc:sldMkLst>
          <pc:docMk/>
          <pc:sldMk cId="895817266" sldId="849"/>
        </pc:sldMkLst>
        <pc:spChg chg="mod">
          <ac:chgData name="Federico Forti (Annalect UK)" userId="95dd6b21-b4ac-4cef-b63e-89b200a05b54" providerId="ADAL" clId="{6D614808-3D99-41FC-A781-132C57B983DC}" dt="2022-01-10T18:07:43.300" v="2458" actId="20577"/>
          <ac:spMkLst>
            <pc:docMk/>
            <pc:sldMk cId="895817266" sldId="849"/>
            <ac:spMk id="6" creationId="{927E30DB-9644-9F4F-ACB7-6F2180A3D2F7}"/>
          </ac:spMkLst>
        </pc:spChg>
        <pc:spChg chg="mod">
          <ac:chgData name="Federico Forti (Annalect UK)" userId="95dd6b21-b4ac-4cef-b63e-89b200a05b54" providerId="ADAL" clId="{6D614808-3D99-41FC-A781-132C57B983DC}" dt="2022-01-10T18:07:49.279" v="2474" actId="20577"/>
          <ac:spMkLst>
            <pc:docMk/>
            <pc:sldMk cId="895817266" sldId="849"/>
            <ac:spMk id="7" creationId="{A1E3002D-600A-B445-A396-949C77FAB6C6}"/>
          </ac:spMkLst>
        </pc:spChg>
      </pc:sldChg>
      <pc:sldChg chg="modSp mod ord">
        <pc:chgData name="Federico Forti (Annalect UK)" userId="95dd6b21-b4ac-4cef-b63e-89b200a05b54" providerId="ADAL" clId="{6D614808-3D99-41FC-A781-132C57B983DC}" dt="2022-01-10T18:07:40.722" v="2456"/>
        <pc:sldMkLst>
          <pc:docMk/>
          <pc:sldMk cId="2198253287" sldId="850"/>
        </pc:sldMkLst>
        <pc:spChg chg="mod">
          <ac:chgData name="Federico Forti (Annalect UK)" userId="95dd6b21-b4ac-4cef-b63e-89b200a05b54" providerId="ADAL" clId="{6D614808-3D99-41FC-A781-132C57B983DC}" dt="2022-01-10T18:07:28.912" v="2435" actId="20577"/>
          <ac:spMkLst>
            <pc:docMk/>
            <pc:sldMk cId="2198253287" sldId="850"/>
            <ac:spMk id="6" creationId="{927E30DB-9644-9F4F-ACB7-6F2180A3D2F7}"/>
          </ac:spMkLst>
        </pc:spChg>
        <pc:spChg chg="mod">
          <ac:chgData name="Federico Forti (Annalect UK)" userId="95dd6b21-b4ac-4cef-b63e-89b200a05b54" providerId="ADAL" clId="{6D614808-3D99-41FC-A781-132C57B983DC}" dt="2022-01-10T18:07:36.453" v="2454" actId="20577"/>
          <ac:spMkLst>
            <pc:docMk/>
            <pc:sldMk cId="2198253287" sldId="850"/>
            <ac:spMk id="7" creationId="{A1E3002D-600A-B445-A396-949C77FAB6C6}"/>
          </ac:spMkLst>
        </pc:spChg>
      </pc:sldChg>
      <pc:sldChg chg="modSp mod">
        <pc:chgData name="Federico Forti (Annalect UK)" userId="95dd6b21-b4ac-4cef-b63e-89b200a05b54" providerId="ADAL" clId="{6D614808-3D99-41FC-A781-132C57B983DC}" dt="2022-01-10T17:04:50.176" v="930" actId="1076"/>
        <pc:sldMkLst>
          <pc:docMk/>
          <pc:sldMk cId="1317976176" sldId="851"/>
        </pc:sldMkLst>
        <pc:spChg chg="mod">
          <ac:chgData name="Federico Forti (Annalect UK)" userId="95dd6b21-b4ac-4cef-b63e-89b200a05b54" providerId="ADAL" clId="{6D614808-3D99-41FC-A781-132C57B983DC}" dt="2022-01-10T16:53:06.465" v="928" actId="20577"/>
          <ac:spMkLst>
            <pc:docMk/>
            <pc:sldMk cId="1317976176" sldId="851"/>
            <ac:spMk id="7" creationId="{A1E3002D-600A-B445-A396-949C77FAB6C6}"/>
          </ac:spMkLst>
        </pc:spChg>
        <pc:spChg chg="mod">
          <ac:chgData name="Federico Forti (Annalect UK)" userId="95dd6b21-b4ac-4cef-b63e-89b200a05b54" providerId="ADAL" clId="{6D614808-3D99-41FC-A781-132C57B983DC}" dt="2022-01-10T17:04:50.176" v="930" actId="1076"/>
          <ac:spMkLst>
            <pc:docMk/>
            <pc:sldMk cId="1317976176" sldId="851"/>
            <ac:spMk id="10" creationId="{B9E9847A-1991-784A-BFC3-D72D1CF15E55}"/>
          </ac:spMkLst>
        </pc:spChg>
      </pc:sldChg>
      <pc:sldChg chg="del">
        <pc:chgData name="Federico Forti (Annalect UK)" userId="95dd6b21-b4ac-4cef-b63e-89b200a05b54" providerId="ADAL" clId="{6D614808-3D99-41FC-A781-132C57B983DC}" dt="2022-01-10T17:35:32.668" v="2401" actId="47"/>
        <pc:sldMkLst>
          <pc:docMk/>
          <pc:sldMk cId="153500754" sldId="852"/>
        </pc:sldMkLst>
      </pc:sldChg>
      <pc:sldChg chg="addSp delSp modSp mod">
        <pc:chgData name="Federico Forti (Annalect UK)" userId="95dd6b21-b4ac-4cef-b63e-89b200a05b54" providerId="ADAL" clId="{6D614808-3D99-41FC-A781-132C57B983DC}" dt="2022-01-11T09:51:06.590" v="2526" actId="20577"/>
        <pc:sldMkLst>
          <pc:docMk/>
          <pc:sldMk cId="1280922114" sldId="853"/>
        </pc:sldMkLst>
        <pc:spChg chg="mod">
          <ac:chgData name="Federico Forti (Annalect UK)" userId="95dd6b21-b4ac-4cef-b63e-89b200a05b54" providerId="ADAL" clId="{6D614808-3D99-41FC-A781-132C57B983DC}" dt="2022-01-11T09:51:06.590" v="2526" actId="20577"/>
          <ac:spMkLst>
            <pc:docMk/>
            <pc:sldMk cId="1280922114" sldId="853"/>
            <ac:spMk id="5" creationId="{B9393005-1E22-7242-A082-B5FBB32A5DB6}"/>
          </ac:spMkLst>
        </pc:spChg>
        <pc:picChg chg="add del mod">
          <ac:chgData name="Federico Forti (Annalect UK)" userId="95dd6b21-b4ac-4cef-b63e-89b200a05b54" providerId="ADAL" clId="{6D614808-3D99-41FC-A781-132C57B983DC}" dt="2022-01-11T09:42:57.343" v="2477" actId="21"/>
          <ac:picMkLst>
            <pc:docMk/>
            <pc:sldMk cId="1280922114" sldId="853"/>
            <ac:picMk id="8" creationId="{9E7EE425-2556-40F1-9890-DCAACDC49C86}"/>
          </ac:picMkLst>
        </pc:picChg>
      </pc:sldChg>
      <pc:sldChg chg="del">
        <pc:chgData name="Federico Forti (Annalect UK)" userId="95dd6b21-b4ac-4cef-b63e-89b200a05b54" providerId="ADAL" clId="{6D614808-3D99-41FC-A781-132C57B983DC}" dt="2022-01-10T17:35:32.668" v="2401" actId="47"/>
        <pc:sldMkLst>
          <pc:docMk/>
          <pc:sldMk cId="1644675625" sldId="854"/>
        </pc:sldMkLst>
      </pc:sldChg>
      <pc:sldChg chg="del">
        <pc:chgData name="Federico Forti (Annalect UK)" userId="95dd6b21-b4ac-4cef-b63e-89b200a05b54" providerId="ADAL" clId="{6D614808-3D99-41FC-A781-132C57B983DC}" dt="2022-01-10T17:35:32.668" v="2401" actId="47"/>
        <pc:sldMkLst>
          <pc:docMk/>
          <pc:sldMk cId="1272739902" sldId="855"/>
        </pc:sldMkLst>
      </pc:sldChg>
      <pc:sldChg chg="del">
        <pc:chgData name="Federico Forti (Annalect UK)" userId="95dd6b21-b4ac-4cef-b63e-89b200a05b54" providerId="ADAL" clId="{6D614808-3D99-41FC-A781-132C57B983DC}" dt="2022-01-10T17:35:32.668" v="2401" actId="47"/>
        <pc:sldMkLst>
          <pc:docMk/>
          <pc:sldMk cId="3691996847" sldId="856"/>
        </pc:sldMkLst>
      </pc:sldChg>
      <pc:sldChg chg="del">
        <pc:chgData name="Federico Forti (Annalect UK)" userId="95dd6b21-b4ac-4cef-b63e-89b200a05b54" providerId="ADAL" clId="{6D614808-3D99-41FC-A781-132C57B983DC}" dt="2022-01-10T17:35:32.668" v="2401" actId="47"/>
        <pc:sldMkLst>
          <pc:docMk/>
          <pc:sldMk cId="3181443340" sldId="857"/>
        </pc:sldMkLst>
      </pc:sldChg>
      <pc:sldChg chg="del">
        <pc:chgData name="Federico Forti (Annalect UK)" userId="95dd6b21-b4ac-4cef-b63e-89b200a05b54" providerId="ADAL" clId="{6D614808-3D99-41FC-A781-132C57B983DC}" dt="2022-01-10T17:35:32.668" v="2401" actId="47"/>
        <pc:sldMkLst>
          <pc:docMk/>
          <pc:sldMk cId="1335109895" sldId="860"/>
        </pc:sldMkLst>
      </pc:sldChg>
      <pc:sldChg chg="modSp mod">
        <pc:chgData name="Federico Forti (Annalect UK)" userId="95dd6b21-b4ac-4cef-b63e-89b200a05b54" providerId="ADAL" clId="{6D614808-3D99-41FC-A781-132C57B983DC}" dt="2022-01-10T17:43:16.170" v="2414" actId="948"/>
        <pc:sldMkLst>
          <pc:docMk/>
          <pc:sldMk cId="518423593" sldId="861"/>
        </pc:sldMkLst>
        <pc:spChg chg="mod">
          <ac:chgData name="Federico Forti (Annalect UK)" userId="95dd6b21-b4ac-4cef-b63e-89b200a05b54" providerId="ADAL" clId="{6D614808-3D99-41FC-A781-132C57B983DC}" dt="2022-01-10T17:43:16.170" v="2414" actId="948"/>
          <ac:spMkLst>
            <pc:docMk/>
            <pc:sldMk cId="518423593" sldId="861"/>
            <ac:spMk id="4" creationId="{D55A494B-4A6B-4A33-8891-E3D0F60816CB}"/>
          </ac:spMkLst>
        </pc:spChg>
      </pc:sldChg>
      <pc:sldChg chg="modSp mod">
        <pc:chgData name="Federico Forti (Annalect UK)" userId="95dd6b21-b4ac-4cef-b63e-89b200a05b54" providerId="ADAL" clId="{6D614808-3D99-41FC-A781-132C57B983DC}" dt="2022-01-10T18:02:04.228" v="2433" actId="1038"/>
        <pc:sldMkLst>
          <pc:docMk/>
          <pc:sldMk cId="2727414350" sldId="862"/>
        </pc:sldMkLst>
        <pc:spChg chg="mod">
          <ac:chgData name="Federico Forti (Annalect UK)" userId="95dd6b21-b4ac-4cef-b63e-89b200a05b54" providerId="ADAL" clId="{6D614808-3D99-41FC-A781-132C57B983DC}" dt="2022-01-10T18:02:04.228" v="2433" actId="1038"/>
          <ac:spMkLst>
            <pc:docMk/>
            <pc:sldMk cId="2727414350" sldId="862"/>
            <ac:spMk id="5" creationId="{88E48B36-FBB1-4923-97AC-93D1F4706E41}"/>
          </ac:spMkLst>
        </pc:spChg>
        <pc:spChg chg="mod">
          <ac:chgData name="Federico Forti (Annalect UK)" userId="95dd6b21-b4ac-4cef-b63e-89b200a05b54" providerId="ADAL" clId="{6D614808-3D99-41FC-A781-132C57B983DC}" dt="2022-01-10T18:02:04.228" v="2433" actId="1038"/>
          <ac:spMkLst>
            <pc:docMk/>
            <pc:sldMk cId="2727414350" sldId="862"/>
            <ac:spMk id="7" creationId="{CC4ECB60-6D72-48B9-BFA9-F5FE2C2A8F54}"/>
          </ac:spMkLst>
        </pc:spChg>
        <pc:spChg chg="mod">
          <ac:chgData name="Federico Forti (Annalect UK)" userId="95dd6b21-b4ac-4cef-b63e-89b200a05b54" providerId="ADAL" clId="{6D614808-3D99-41FC-A781-132C57B983DC}" dt="2022-01-10T18:02:04.228" v="2433" actId="1038"/>
          <ac:spMkLst>
            <pc:docMk/>
            <pc:sldMk cId="2727414350" sldId="862"/>
            <ac:spMk id="10" creationId="{0D0F23C7-F998-4064-A268-BE3CEA343B65}"/>
          </ac:spMkLst>
        </pc:spChg>
        <pc:spChg chg="mod">
          <ac:chgData name="Federico Forti (Annalect UK)" userId="95dd6b21-b4ac-4cef-b63e-89b200a05b54" providerId="ADAL" clId="{6D614808-3D99-41FC-A781-132C57B983DC}" dt="2022-01-10T18:02:04.228" v="2433" actId="1038"/>
          <ac:spMkLst>
            <pc:docMk/>
            <pc:sldMk cId="2727414350" sldId="862"/>
            <ac:spMk id="11" creationId="{0028E923-DCAF-4C9E-938D-A506F6B59404}"/>
          </ac:spMkLst>
        </pc:spChg>
      </pc:sldChg>
      <pc:sldChg chg="addSp delSp modSp del mod modClrScheme chgLayout">
        <pc:chgData name="Federico Forti (Annalect UK)" userId="95dd6b21-b4ac-4cef-b63e-89b200a05b54" providerId="ADAL" clId="{6D614808-3D99-41FC-A781-132C57B983DC}" dt="2022-01-11T12:18:53.710" v="2662" actId="47"/>
        <pc:sldMkLst>
          <pc:docMk/>
          <pc:sldMk cId="4250845431" sldId="863"/>
        </pc:sldMkLst>
        <pc:spChg chg="mod ord">
          <ac:chgData name="Federico Forti (Annalect UK)" userId="95dd6b21-b4ac-4cef-b63e-89b200a05b54" providerId="ADAL" clId="{6D614808-3D99-41FC-A781-132C57B983DC}" dt="2022-01-11T09:52:37.272" v="2538" actId="700"/>
          <ac:spMkLst>
            <pc:docMk/>
            <pc:sldMk cId="4250845431" sldId="863"/>
            <ac:spMk id="2" creationId="{C8ABD000-2CB5-4A68-ACB5-3D9FD0D0D97F}"/>
          </ac:spMkLst>
        </pc:spChg>
        <pc:spChg chg="mod ord">
          <ac:chgData name="Federico Forti (Annalect UK)" userId="95dd6b21-b4ac-4cef-b63e-89b200a05b54" providerId="ADAL" clId="{6D614808-3D99-41FC-A781-132C57B983DC}" dt="2022-01-11T09:52:37.272" v="2538" actId="700"/>
          <ac:spMkLst>
            <pc:docMk/>
            <pc:sldMk cId="4250845431" sldId="863"/>
            <ac:spMk id="3" creationId="{995E9CDA-0271-434C-9BCD-13426863B31C}"/>
          </ac:spMkLst>
        </pc:spChg>
        <pc:spChg chg="mod ord">
          <ac:chgData name="Federico Forti (Annalect UK)" userId="95dd6b21-b4ac-4cef-b63e-89b200a05b54" providerId="ADAL" clId="{6D614808-3D99-41FC-A781-132C57B983DC}" dt="2022-01-11T09:53:07.679" v="2548" actId="20577"/>
          <ac:spMkLst>
            <pc:docMk/>
            <pc:sldMk cId="4250845431" sldId="863"/>
            <ac:spMk id="4" creationId="{6876334E-B2F1-4D16-9C27-A57B2E349410}"/>
          </ac:spMkLst>
        </pc:spChg>
        <pc:spChg chg="mod ord">
          <ac:chgData name="Federico Forti (Annalect UK)" userId="95dd6b21-b4ac-4cef-b63e-89b200a05b54" providerId="ADAL" clId="{6D614808-3D99-41FC-A781-132C57B983DC}" dt="2022-01-11T09:52:37.272" v="2538" actId="700"/>
          <ac:spMkLst>
            <pc:docMk/>
            <pc:sldMk cId="4250845431" sldId="863"/>
            <ac:spMk id="5" creationId="{F448C2A1-888A-4239-9E66-CF6EEBE5E040}"/>
          </ac:spMkLst>
        </pc:spChg>
        <pc:spChg chg="add del mod ord">
          <ac:chgData name="Federico Forti (Annalect UK)" userId="95dd6b21-b4ac-4cef-b63e-89b200a05b54" providerId="ADAL" clId="{6D614808-3D99-41FC-A781-132C57B983DC}" dt="2022-01-11T09:52:37.272" v="2538" actId="700"/>
          <ac:spMkLst>
            <pc:docMk/>
            <pc:sldMk cId="4250845431" sldId="863"/>
            <ac:spMk id="6" creationId="{39BC7237-8936-4B46-AD24-3B49A82B6C8B}"/>
          </ac:spMkLst>
        </pc:spChg>
        <pc:spChg chg="add del mod ord">
          <ac:chgData name="Federico Forti (Annalect UK)" userId="95dd6b21-b4ac-4cef-b63e-89b200a05b54" providerId="ADAL" clId="{6D614808-3D99-41FC-A781-132C57B983DC}" dt="2022-01-11T09:52:37.272" v="2538" actId="700"/>
          <ac:spMkLst>
            <pc:docMk/>
            <pc:sldMk cId="4250845431" sldId="863"/>
            <ac:spMk id="7" creationId="{2A67BDED-850F-4BCF-AA80-ECC418EBEC3A}"/>
          </ac:spMkLst>
        </pc:spChg>
        <pc:spChg chg="add del mod ord">
          <ac:chgData name="Federico Forti (Annalect UK)" userId="95dd6b21-b4ac-4cef-b63e-89b200a05b54" providerId="ADAL" clId="{6D614808-3D99-41FC-A781-132C57B983DC}" dt="2022-01-11T09:52:37.272" v="2538" actId="700"/>
          <ac:spMkLst>
            <pc:docMk/>
            <pc:sldMk cId="4250845431" sldId="863"/>
            <ac:spMk id="8" creationId="{0E10D18D-C49E-424D-88E2-2F8656E40543}"/>
          </ac:spMkLst>
        </pc:spChg>
        <pc:spChg chg="add del mod ord">
          <ac:chgData name="Federico Forti (Annalect UK)" userId="95dd6b21-b4ac-4cef-b63e-89b200a05b54" providerId="ADAL" clId="{6D614808-3D99-41FC-A781-132C57B983DC}" dt="2022-01-11T09:52:37.272" v="2538" actId="700"/>
          <ac:spMkLst>
            <pc:docMk/>
            <pc:sldMk cId="4250845431" sldId="863"/>
            <ac:spMk id="9" creationId="{547F99F8-5E05-480E-9EE0-41280DDBD32F}"/>
          </ac:spMkLst>
        </pc:spChg>
        <pc:spChg chg="add del mod ord">
          <ac:chgData name="Federico Forti (Annalect UK)" userId="95dd6b21-b4ac-4cef-b63e-89b200a05b54" providerId="ADAL" clId="{6D614808-3D99-41FC-A781-132C57B983DC}" dt="2022-01-11T09:52:37.272" v="2538" actId="700"/>
          <ac:spMkLst>
            <pc:docMk/>
            <pc:sldMk cId="4250845431" sldId="863"/>
            <ac:spMk id="10" creationId="{CD36834C-A672-489F-86AC-DE7223EACA0D}"/>
          </ac:spMkLst>
        </pc:spChg>
        <pc:spChg chg="add del mod ord">
          <ac:chgData name="Federico Forti (Annalect UK)" userId="95dd6b21-b4ac-4cef-b63e-89b200a05b54" providerId="ADAL" clId="{6D614808-3D99-41FC-A781-132C57B983DC}" dt="2022-01-11T09:52:37.272" v="2538" actId="700"/>
          <ac:spMkLst>
            <pc:docMk/>
            <pc:sldMk cId="4250845431" sldId="863"/>
            <ac:spMk id="11" creationId="{322B5421-CBB8-4F91-8634-8CF71B4C949E}"/>
          </ac:spMkLst>
        </pc:spChg>
        <pc:spChg chg="add del mod ord">
          <ac:chgData name="Federico Forti (Annalect UK)" userId="95dd6b21-b4ac-4cef-b63e-89b200a05b54" providerId="ADAL" clId="{6D614808-3D99-41FC-A781-132C57B983DC}" dt="2022-01-11T09:52:37.272" v="2538" actId="700"/>
          <ac:spMkLst>
            <pc:docMk/>
            <pc:sldMk cId="4250845431" sldId="863"/>
            <ac:spMk id="12" creationId="{E6A25F11-9A3F-4B7C-A089-80B6635076AB}"/>
          </ac:spMkLst>
        </pc:spChg>
        <pc:spChg chg="add del mod ord">
          <ac:chgData name="Federico Forti (Annalect UK)" userId="95dd6b21-b4ac-4cef-b63e-89b200a05b54" providerId="ADAL" clId="{6D614808-3D99-41FC-A781-132C57B983DC}" dt="2022-01-11T09:52:37.272" v="2538" actId="700"/>
          <ac:spMkLst>
            <pc:docMk/>
            <pc:sldMk cId="4250845431" sldId="863"/>
            <ac:spMk id="13" creationId="{9157D334-4550-41D3-8635-4B748F713E99}"/>
          </ac:spMkLst>
        </pc:spChg>
      </pc:sldChg>
      <pc:sldChg chg="addSp delSp modSp new mod modClrScheme chgLayout">
        <pc:chgData name="Federico Forti (Annalect UK)" userId="95dd6b21-b4ac-4cef-b63e-89b200a05b54" providerId="ADAL" clId="{6D614808-3D99-41FC-A781-132C57B983DC}" dt="2022-01-10T16:44:01.682" v="266" actId="20577"/>
        <pc:sldMkLst>
          <pc:docMk/>
          <pc:sldMk cId="1262266710" sldId="864"/>
        </pc:sldMkLst>
        <pc:spChg chg="mod ord">
          <ac:chgData name="Federico Forti (Annalect UK)" userId="95dd6b21-b4ac-4cef-b63e-89b200a05b54" providerId="ADAL" clId="{6D614808-3D99-41FC-A781-132C57B983DC}" dt="2022-01-10T16:26:12.855" v="18" actId="700"/>
          <ac:spMkLst>
            <pc:docMk/>
            <pc:sldMk cId="1262266710" sldId="864"/>
            <ac:spMk id="2" creationId="{74AF87AD-814F-4602-AD2B-D2443E5F6244}"/>
          </ac:spMkLst>
        </pc:spChg>
        <pc:spChg chg="mod ord">
          <ac:chgData name="Federico Forti (Annalect UK)" userId="95dd6b21-b4ac-4cef-b63e-89b200a05b54" providerId="ADAL" clId="{6D614808-3D99-41FC-A781-132C57B983DC}" dt="2022-01-10T16:26:12.855" v="18" actId="700"/>
          <ac:spMkLst>
            <pc:docMk/>
            <pc:sldMk cId="1262266710" sldId="864"/>
            <ac:spMk id="3" creationId="{A8BD17C5-544A-4C85-9DCD-DA562B4EAFE5}"/>
          </ac:spMkLst>
        </pc:spChg>
        <pc:spChg chg="add mod ord">
          <ac:chgData name="Federico Forti (Annalect UK)" userId="95dd6b21-b4ac-4cef-b63e-89b200a05b54" providerId="ADAL" clId="{6D614808-3D99-41FC-A781-132C57B983DC}" dt="2022-01-10T16:44:01.682" v="266" actId="20577"/>
          <ac:spMkLst>
            <pc:docMk/>
            <pc:sldMk cId="1262266710" sldId="864"/>
            <ac:spMk id="4" creationId="{1761C23F-858B-4FE7-A7BB-9436B4667911}"/>
          </ac:spMkLst>
        </pc:spChg>
        <pc:spChg chg="add del mod">
          <ac:chgData name="Federico Forti (Annalect UK)" userId="95dd6b21-b4ac-4cef-b63e-89b200a05b54" providerId="ADAL" clId="{6D614808-3D99-41FC-A781-132C57B983DC}" dt="2022-01-10T16:42:10.864" v="99" actId="478"/>
          <ac:spMkLst>
            <pc:docMk/>
            <pc:sldMk cId="1262266710" sldId="864"/>
            <ac:spMk id="7" creationId="{E37F3485-A3AB-490B-A483-87B1EC0C33D6}"/>
          </ac:spMkLst>
        </pc:spChg>
        <pc:spChg chg="add del mod">
          <ac:chgData name="Federico Forti (Annalect UK)" userId="95dd6b21-b4ac-4cef-b63e-89b200a05b54" providerId="ADAL" clId="{6D614808-3D99-41FC-A781-132C57B983DC}" dt="2022-01-10T16:42:10.864" v="99" actId="478"/>
          <ac:spMkLst>
            <pc:docMk/>
            <pc:sldMk cId="1262266710" sldId="864"/>
            <ac:spMk id="8" creationId="{195C60BE-8E30-4B93-983F-2709DFF4CEEF}"/>
          </ac:spMkLst>
        </pc:spChg>
        <pc:spChg chg="add del mod">
          <ac:chgData name="Federico Forti (Annalect UK)" userId="95dd6b21-b4ac-4cef-b63e-89b200a05b54" providerId="ADAL" clId="{6D614808-3D99-41FC-A781-132C57B983DC}" dt="2022-01-10T16:42:10.864" v="99" actId="478"/>
          <ac:spMkLst>
            <pc:docMk/>
            <pc:sldMk cId="1262266710" sldId="864"/>
            <ac:spMk id="9" creationId="{EA2D32E8-9950-4263-A19C-984B32F9BDD6}"/>
          </ac:spMkLst>
        </pc:spChg>
        <pc:spChg chg="add mod">
          <ac:chgData name="Federico Forti (Annalect UK)" userId="95dd6b21-b4ac-4cef-b63e-89b200a05b54" providerId="ADAL" clId="{6D614808-3D99-41FC-A781-132C57B983DC}" dt="2022-01-10T16:43:19.721" v="136" actId="20577"/>
          <ac:spMkLst>
            <pc:docMk/>
            <pc:sldMk cId="1262266710" sldId="864"/>
            <ac:spMk id="13" creationId="{32939319-A785-4B2E-904A-6410C7EA407F}"/>
          </ac:spMkLst>
        </pc:spChg>
        <pc:spChg chg="add mod">
          <ac:chgData name="Federico Forti (Annalect UK)" userId="95dd6b21-b4ac-4cef-b63e-89b200a05b54" providerId="ADAL" clId="{6D614808-3D99-41FC-A781-132C57B983DC}" dt="2022-01-10T16:43:33.251" v="172" actId="20577"/>
          <ac:spMkLst>
            <pc:docMk/>
            <pc:sldMk cId="1262266710" sldId="864"/>
            <ac:spMk id="14" creationId="{64C825CC-7FB2-410B-8677-3FA0BB6C4C7F}"/>
          </ac:spMkLst>
        </pc:spChg>
        <pc:spChg chg="add mod">
          <ac:chgData name="Federico Forti (Annalect UK)" userId="95dd6b21-b4ac-4cef-b63e-89b200a05b54" providerId="ADAL" clId="{6D614808-3D99-41FC-A781-132C57B983DC}" dt="2022-01-10T16:43:25.729" v="148" actId="20577"/>
          <ac:spMkLst>
            <pc:docMk/>
            <pc:sldMk cId="1262266710" sldId="864"/>
            <ac:spMk id="15" creationId="{2DF9A75D-3402-45BE-88E0-EC8F73A5246D}"/>
          </ac:spMkLst>
        </pc:spChg>
        <pc:graphicFrameChg chg="add del mod">
          <ac:chgData name="Federico Forti (Annalect UK)" userId="95dd6b21-b4ac-4cef-b63e-89b200a05b54" providerId="ADAL" clId="{6D614808-3D99-41FC-A781-132C57B983DC}" dt="2022-01-10T16:42:10.864" v="99" actId="478"/>
          <ac:graphicFrameMkLst>
            <pc:docMk/>
            <pc:sldMk cId="1262266710" sldId="864"/>
            <ac:graphicFrameMk id="5" creationId="{4433CF48-0D91-4B42-94FA-DA833B76320C}"/>
          </ac:graphicFrameMkLst>
        </pc:graphicFrameChg>
        <pc:graphicFrameChg chg="add del mod">
          <ac:chgData name="Federico Forti (Annalect UK)" userId="95dd6b21-b4ac-4cef-b63e-89b200a05b54" providerId="ADAL" clId="{6D614808-3D99-41FC-A781-132C57B983DC}" dt="2022-01-10T16:42:10.864" v="99" actId="478"/>
          <ac:graphicFrameMkLst>
            <pc:docMk/>
            <pc:sldMk cId="1262266710" sldId="864"/>
            <ac:graphicFrameMk id="6" creationId="{1CDFBE84-7F82-40F3-BBF3-472C45FA953D}"/>
          </ac:graphicFrameMkLst>
        </pc:graphicFrameChg>
        <pc:graphicFrameChg chg="add mod modGraphic">
          <ac:chgData name="Federico Forti (Annalect UK)" userId="95dd6b21-b4ac-4cef-b63e-89b200a05b54" providerId="ADAL" clId="{6D614808-3D99-41FC-A781-132C57B983DC}" dt="2022-01-10T16:43:10.547" v="118" actId="14100"/>
          <ac:graphicFrameMkLst>
            <pc:docMk/>
            <pc:sldMk cId="1262266710" sldId="864"/>
            <ac:graphicFrameMk id="10" creationId="{D6C70113-1740-42C0-A628-06E9E9DFAA79}"/>
          </ac:graphicFrameMkLst>
        </pc:graphicFrameChg>
        <pc:graphicFrameChg chg="add mod modGraphic">
          <ac:chgData name="Federico Forti (Annalect UK)" userId="95dd6b21-b4ac-4cef-b63e-89b200a05b54" providerId="ADAL" clId="{6D614808-3D99-41FC-A781-132C57B983DC}" dt="2022-01-10T16:43:06.408" v="117" actId="14100"/>
          <ac:graphicFrameMkLst>
            <pc:docMk/>
            <pc:sldMk cId="1262266710" sldId="864"/>
            <ac:graphicFrameMk id="11" creationId="{39A36780-9E1F-4C72-A10D-8F905E8312BF}"/>
          </ac:graphicFrameMkLst>
        </pc:graphicFrameChg>
        <pc:graphicFrameChg chg="add mod">
          <ac:chgData name="Federico Forti (Annalect UK)" userId="95dd6b21-b4ac-4cef-b63e-89b200a05b54" providerId="ADAL" clId="{6D614808-3D99-41FC-A781-132C57B983DC}" dt="2022-01-10T16:43:01.627" v="116" actId="14100"/>
          <ac:graphicFrameMkLst>
            <pc:docMk/>
            <pc:sldMk cId="1262266710" sldId="864"/>
            <ac:graphicFrameMk id="12" creationId="{A78B0DA8-62EF-4057-B83C-9A728E08CDAD}"/>
          </ac:graphicFrameMkLst>
        </pc:graphicFrameChg>
        <pc:graphicFrameChg chg="add mod">
          <ac:chgData name="Federico Forti (Annalect UK)" userId="95dd6b21-b4ac-4cef-b63e-89b200a05b54" providerId="ADAL" clId="{6D614808-3D99-41FC-A781-132C57B983DC}" dt="2022-01-10T16:43:01.627" v="116" actId="14100"/>
          <ac:graphicFrameMkLst>
            <pc:docMk/>
            <pc:sldMk cId="1262266710" sldId="864"/>
            <ac:graphicFrameMk id="16" creationId="{CDBE1B56-8DD5-43D4-862A-84FF75444106}"/>
          </ac:graphicFrameMkLst>
        </pc:graphicFrameChg>
        <pc:graphicFrameChg chg="add mod">
          <ac:chgData name="Federico Forti (Annalect UK)" userId="95dd6b21-b4ac-4cef-b63e-89b200a05b54" providerId="ADAL" clId="{6D614808-3D99-41FC-A781-132C57B983DC}" dt="2022-01-10T16:43:01.627" v="116" actId="14100"/>
          <ac:graphicFrameMkLst>
            <pc:docMk/>
            <pc:sldMk cId="1262266710" sldId="864"/>
            <ac:graphicFrameMk id="17" creationId="{9D13070E-E876-49E7-8B2B-4B471BFF681D}"/>
          </ac:graphicFrameMkLst>
        </pc:graphicFrameChg>
      </pc:sldChg>
      <pc:sldChg chg="modSp add mod ord">
        <pc:chgData name="Federico Forti (Annalect UK)" userId="95dd6b21-b4ac-4cef-b63e-89b200a05b54" providerId="ADAL" clId="{6D614808-3D99-41FC-A781-132C57B983DC}" dt="2022-01-11T11:29:41.708" v="2661" actId="20577"/>
        <pc:sldMkLst>
          <pc:docMk/>
          <pc:sldMk cId="2793658599" sldId="865"/>
        </pc:sldMkLst>
        <pc:spChg chg="mod">
          <ac:chgData name="Federico Forti (Annalect UK)" userId="95dd6b21-b4ac-4cef-b63e-89b200a05b54" providerId="ADAL" clId="{6D614808-3D99-41FC-A781-132C57B983DC}" dt="2022-01-10T16:43:45.937" v="219" actId="20577"/>
          <ac:spMkLst>
            <pc:docMk/>
            <pc:sldMk cId="2793658599" sldId="865"/>
            <ac:spMk id="4" creationId="{1761C23F-858B-4FE7-A7BB-9436B4667911}"/>
          </ac:spMkLst>
        </pc:spChg>
        <pc:spChg chg="mod">
          <ac:chgData name="Federico Forti (Annalect UK)" userId="95dd6b21-b4ac-4cef-b63e-89b200a05b54" providerId="ADAL" clId="{6D614808-3D99-41FC-A781-132C57B983DC}" dt="2022-01-11T11:29:41.708" v="2661" actId="20577"/>
          <ac:spMkLst>
            <pc:docMk/>
            <pc:sldMk cId="2793658599" sldId="865"/>
            <ac:spMk id="7" creationId="{E37F3485-A3AB-490B-A483-87B1EC0C33D6}"/>
          </ac:spMkLst>
        </pc:spChg>
      </pc:sldChg>
      <pc:sldChg chg="addSp delSp modSp new mod">
        <pc:chgData name="Federico Forti (Annalect UK)" userId="95dd6b21-b4ac-4cef-b63e-89b200a05b54" providerId="ADAL" clId="{6D614808-3D99-41FC-A781-132C57B983DC}" dt="2022-01-11T11:27:31.981" v="2600" actId="20577"/>
        <pc:sldMkLst>
          <pc:docMk/>
          <pc:sldMk cId="2225579735" sldId="866"/>
        </pc:sldMkLst>
        <pc:spChg chg="mod">
          <ac:chgData name="Federico Forti (Annalect UK)" userId="95dd6b21-b4ac-4cef-b63e-89b200a05b54" providerId="ADAL" clId="{6D614808-3D99-41FC-A781-132C57B983DC}" dt="2022-01-10T16:44:17.322" v="302" actId="20577"/>
          <ac:spMkLst>
            <pc:docMk/>
            <pc:sldMk cId="2225579735" sldId="866"/>
            <ac:spMk id="4" creationId="{4920E678-C0E6-4EDA-B688-DD9C2EF14FA2}"/>
          </ac:spMkLst>
        </pc:spChg>
        <pc:spChg chg="add mod">
          <ac:chgData name="Federico Forti (Annalect UK)" userId="95dd6b21-b4ac-4cef-b63e-89b200a05b54" providerId="ADAL" clId="{6D614808-3D99-41FC-A781-132C57B983DC}" dt="2022-01-10T16:50:50.809" v="749" actId="20577"/>
          <ac:spMkLst>
            <pc:docMk/>
            <pc:sldMk cId="2225579735" sldId="866"/>
            <ac:spMk id="9" creationId="{F5E1CD4B-3F91-4D00-A6CB-E878CBA7E66E}"/>
          </ac:spMkLst>
        </pc:spChg>
        <pc:spChg chg="add del mod">
          <ac:chgData name="Federico Forti (Annalect UK)" userId="95dd6b21-b4ac-4cef-b63e-89b200a05b54" providerId="ADAL" clId="{6D614808-3D99-41FC-A781-132C57B983DC}" dt="2022-01-10T16:48:08.620" v="394" actId="478"/>
          <ac:spMkLst>
            <pc:docMk/>
            <pc:sldMk cId="2225579735" sldId="866"/>
            <ac:spMk id="11" creationId="{72329B9C-6336-4960-93CD-3770A944E52D}"/>
          </ac:spMkLst>
        </pc:spChg>
        <pc:spChg chg="add del mod">
          <ac:chgData name="Federico Forti (Annalect UK)" userId="95dd6b21-b4ac-4cef-b63e-89b200a05b54" providerId="ADAL" clId="{6D614808-3D99-41FC-A781-132C57B983DC}" dt="2022-01-10T16:48:12.758" v="396" actId="478"/>
          <ac:spMkLst>
            <pc:docMk/>
            <pc:sldMk cId="2225579735" sldId="866"/>
            <ac:spMk id="12" creationId="{6B952B12-A49F-4434-A43B-B2721C5266DA}"/>
          </ac:spMkLst>
        </pc:spChg>
        <pc:spChg chg="add del mod">
          <ac:chgData name="Federico Forti (Annalect UK)" userId="95dd6b21-b4ac-4cef-b63e-89b200a05b54" providerId="ADAL" clId="{6D614808-3D99-41FC-A781-132C57B983DC}" dt="2022-01-10T16:48:00.681" v="392" actId="478"/>
          <ac:spMkLst>
            <pc:docMk/>
            <pc:sldMk cId="2225579735" sldId="866"/>
            <ac:spMk id="13" creationId="{B22B9D40-2AD4-4A39-BE7A-6E25DC4946D2}"/>
          </ac:spMkLst>
        </pc:spChg>
        <pc:spChg chg="add del mod">
          <ac:chgData name="Federico Forti (Annalect UK)" userId="95dd6b21-b4ac-4cef-b63e-89b200a05b54" providerId="ADAL" clId="{6D614808-3D99-41FC-A781-132C57B983DC}" dt="2022-01-10T16:48:14.452" v="397" actId="478"/>
          <ac:spMkLst>
            <pc:docMk/>
            <pc:sldMk cId="2225579735" sldId="866"/>
            <ac:spMk id="14" creationId="{7A3BE718-1CC0-4238-871D-F3F4B9D437AC}"/>
          </ac:spMkLst>
        </pc:spChg>
        <pc:spChg chg="add del mod">
          <ac:chgData name="Federico Forti (Annalect UK)" userId="95dd6b21-b4ac-4cef-b63e-89b200a05b54" providerId="ADAL" clId="{6D614808-3D99-41FC-A781-132C57B983DC}" dt="2022-01-10T16:48:06.065" v="393" actId="478"/>
          <ac:spMkLst>
            <pc:docMk/>
            <pc:sldMk cId="2225579735" sldId="866"/>
            <ac:spMk id="15" creationId="{9AC5A0FF-C91D-44CA-AF58-6A6478E15DAC}"/>
          </ac:spMkLst>
        </pc:spChg>
        <pc:spChg chg="add del mod">
          <ac:chgData name="Federico Forti (Annalect UK)" userId="95dd6b21-b4ac-4cef-b63e-89b200a05b54" providerId="ADAL" clId="{6D614808-3D99-41FC-A781-132C57B983DC}" dt="2022-01-10T16:48:10.857" v="395" actId="478"/>
          <ac:spMkLst>
            <pc:docMk/>
            <pc:sldMk cId="2225579735" sldId="866"/>
            <ac:spMk id="16" creationId="{2AE3DD0C-C145-4F4F-BA68-6B0FC994BEA9}"/>
          </ac:spMkLst>
        </pc:spChg>
        <pc:spChg chg="add del mod">
          <ac:chgData name="Federico Forti (Annalect UK)" userId="95dd6b21-b4ac-4cef-b63e-89b200a05b54" providerId="ADAL" clId="{6D614808-3D99-41FC-A781-132C57B983DC}" dt="2022-01-10T16:48:00.681" v="392" actId="478"/>
          <ac:spMkLst>
            <pc:docMk/>
            <pc:sldMk cId="2225579735" sldId="866"/>
            <ac:spMk id="17" creationId="{A2F0C8E5-B767-46A1-9A3F-A5C024D10EE4}"/>
          </ac:spMkLst>
        </pc:spChg>
        <pc:spChg chg="add mod">
          <ac:chgData name="Federico Forti (Annalect UK)" userId="95dd6b21-b4ac-4cef-b63e-89b200a05b54" providerId="ADAL" clId="{6D614808-3D99-41FC-A781-132C57B983DC}" dt="2022-01-10T16:48:30.986" v="410" actId="1037"/>
          <ac:spMkLst>
            <pc:docMk/>
            <pc:sldMk cId="2225579735" sldId="866"/>
            <ac:spMk id="18" creationId="{54B0B19A-869E-4F39-9870-3088356BD996}"/>
          </ac:spMkLst>
        </pc:spChg>
        <pc:spChg chg="add mod">
          <ac:chgData name="Federico Forti (Annalect UK)" userId="95dd6b21-b4ac-4cef-b63e-89b200a05b54" providerId="ADAL" clId="{6D614808-3D99-41FC-A781-132C57B983DC}" dt="2022-01-10T16:47:56.424" v="390" actId="1076"/>
          <ac:spMkLst>
            <pc:docMk/>
            <pc:sldMk cId="2225579735" sldId="866"/>
            <ac:spMk id="19" creationId="{93A27847-9B5F-4E98-B6A6-94F1D945BB52}"/>
          </ac:spMkLst>
        </pc:spChg>
        <pc:spChg chg="add mod">
          <ac:chgData name="Federico Forti (Annalect UK)" userId="95dd6b21-b4ac-4cef-b63e-89b200a05b54" providerId="ADAL" clId="{6D614808-3D99-41FC-A781-132C57B983DC}" dt="2022-01-10T16:47:56.424" v="390" actId="1076"/>
          <ac:spMkLst>
            <pc:docMk/>
            <pc:sldMk cId="2225579735" sldId="866"/>
            <ac:spMk id="20" creationId="{581C7947-A0AE-493F-9708-140C7A5C40DA}"/>
          </ac:spMkLst>
        </pc:spChg>
        <pc:spChg chg="add mod ord">
          <ac:chgData name="Federico Forti (Annalect UK)" userId="95dd6b21-b4ac-4cef-b63e-89b200a05b54" providerId="ADAL" clId="{6D614808-3D99-41FC-A781-132C57B983DC}" dt="2022-01-10T16:51:15.109" v="759" actId="166"/>
          <ac:spMkLst>
            <pc:docMk/>
            <pc:sldMk cId="2225579735" sldId="866"/>
            <ac:spMk id="21" creationId="{E44549AE-5225-40E9-B3B8-BB431D3FE96F}"/>
          </ac:spMkLst>
        </pc:spChg>
        <pc:spChg chg="add del mod">
          <ac:chgData name="Federico Forti (Annalect UK)" userId="95dd6b21-b4ac-4cef-b63e-89b200a05b54" providerId="ADAL" clId="{6D614808-3D99-41FC-A781-132C57B983DC}" dt="2022-01-10T16:48:00.681" v="392" actId="478"/>
          <ac:spMkLst>
            <pc:docMk/>
            <pc:sldMk cId="2225579735" sldId="866"/>
            <ac:spMk id="22" creationId="{EF598CBA-4065-4FE0-85C2-1687FF78ECE4}"/>
          </ac:spMkLst>
        </pc:spChg>
        <pc:spChg chg="add del mod">
          <ac:chgData name="Federico Forti (Annalect UK)" userId="95dd6b21-b4ac-4cef-b63e-89b200a05b54" providerId="ADAL" clId="{6D614808-3D99-41FC-A781-132C57B983DC}" dt="2022-01-10T16:48:00.681" v="392" actId="478"/>
          <ac:spMkLst>
            <pc:docMk/>
            <pc:sldMk cId="2225579735" sldId="866"/>
            <ac:spMk id="23" creationId="{14D18306-154B-4EF1-A5E9-62E18A667017}"/>
          </ac:spMkLst>
        </pc:spChg>
        <pc:spChg chg="add del">
          <ac:chgData name="Federico Forti (Annalect UK)" userId="95dd6b21-b4ac-4cef-b63e-89b200a05b54" providerId="ADAL" clId="{6D614808-3D99-41FC-A781-132C57B983DC}" dt="2022-01-10T16:48:42.729" v="412" actId="478"/>
          <ac:spMkLst>
            <pc:docMk/>
            <pc:sldMk cId="2225579735" sldId="866"/>
            <ac:spMk id="24" creationId="{526F5636-E5B2-4F1A-AC3C-34EC5D9030A1}"/>
          </ac:spMkLst>
        </pc:spChg>
        <pc:spChg chg="add mod">
          <ac:chgData name="Federico Forti (Annalect UK)" userId="95dd6b21-b4ac-4cef-b63e-89b200a05b54" providerId="ADAL" clId="{6D614808-3D99-41FC-A781-132C57B983DC}" dt="2022-01-11T11:27:31.981" v="2600" actId="20577"/>
          <ac:spMkLst>
            <pc:docMk/>
            <pc:sldMk cId="2225579735" sldId="866"/>
            <ac:spMk id="25" creationId="{43C06602-997F-4459-BD44-C6C3A5FE15DB}"/>
          </ac:spMkLst>
        </pc:spChg>
        <pc:spChg chg="add mod">
          <ac:chgData name="Federico Forti (Annalect UK)" userId="95dd6b21-b4ac-4cef-b63e-89b200a05b54" providerId="ADAL" clId="{6D614808-3D99-41FC-A781-132C57B983DC}" dt="2022-01-10T16:51:09.156" v="758" actId="164"/>
          <ac:spMkLst>
            <pc:docMk/>
            <pc:sldMk cId="2225579735" sldId="866"/>
            <ac:spMk id="26" creationId="{1B193003-62B6-4004-8F35-B297A4F522B4}"/>
          </ac:spMkLst>
        </pc:spChg>
        <pc:grpChg chg="add mod">
          <ac:chgData name="Federico Forti (Annalect UK)" userId="95dd6b21-b4ac-4cef-b63e-89b200a05b54" providerId="ADAL" clId="{6D614808-3D99-41FC-A781-132C57B983DC}" dt="2022-01-10T16:51:09.156" v="758" actId="164"/>
          <ac:grpSpMkLst>
            <pc:docMk/>
            <pc:sldMk cId="2225579735" sldId="866"/>
            <ac:grpSpMk id="10" creationId="{122EF432-7FC2-46C1-B723-71B443672C9F}"/>
          </ac:grpSpMkLst>
        </pc:grpChg>
        <pc:grpChg chg="add mod">
          <ac:chgData name="Federico Forti (Annalect UK)" userId="95dd6b21-b4ac-4cef-b63e-89b200a05b54" providerId="ADAL" clId="{6D614808-3D99-41FC-A781-132C57B983DC}" dt="2022-01-10T16:51:09.156" v="758" actId="164"/>
          <ac:grpSpMkLst>
            <pc:docMk/>
            <pc:sldMk cId="2225579735" sldId="866"/>
            <ac:grpSpMk id="27" creationId="{F6DEB044-F929-4ECC-8FF1-815F34A10F7B}"/>
          </ac:grpSpMkLst>
        </pc:grpChg>
        <pc:picChg chg="add mod">
          <ac:chgData name="Federico Forti (Annalect UK)" userId="95dd6b21-b4ac-4cef-b63e-89b200a05b54" providerId="ADAL" clId="{6D614808-3D99-41FC-A781-132C57B983DC}" dt="2022-01-10T16:47:26.232" v="383" actId="1076"/>
          <ac:picMkLst>
            <pc:docMk/>
            <pc:sldMk cId="2225579735" sldId="866"/>
            <ac:picMk id="5" creationId="{A5380D8A-764C-40E3-92E7-13435604FF62}"/>
          </ac:picMkLst>
        </pc:picChg>
        <pc:picChg chg="add mod">
          <ac:chgData name="Federico Forti (Annalect UK)" userId="95dd6b21-b4ac-4cef-b63e-89b200a05b54" providerId="ADAL" clId="{6D614808-3D99-41FC-A781-132C57B983DC}" dt="2022-01-10T16:47:27.656" v="384" actId="1076"/>
          <ac:picMkLst>
            <pc:docMk/>
            <pc:sldMk cId="2225579735" sldId="866"/>
            <ac:picMk id="6" creationId="{7C322579-891E-46A7-8CA5-1ED608801D6C}"/>
          </ac:picMkLst>
        </pc:picChg>
        <pc:picChg chg="add mod">
          <ac:chgData name="Federico Forti (Annalect UK)" userId="95dd6b21-b4ac-4cef-b63e-89b200a05b54" providerId="ADAL" clId="{6D614808-3D99-41FC-A781-132C57B983DC}" dt="2022-01-10T16:47:17.234" v="381" actId="164"/>
          <ac:picMkLst>
            <pc:docMk/>
            <pc:sldMk cId="2225579735" sldId="866"/>
            <ac:picMk id="7" creationId="{76D57D9A-566A-4DCA-9CAB-2DC053D85DA3}"/>
          </ac:picMkLst>
        </pc:picChg>
        <pc:picChg chg="add mod">
          <ac:chgData name="Federico Forti (Annalect UK)" userId="95dd6b21-b4ac-4cef-b63e-89b200a05b54" providerId="ADAL" clId="{6D614808-3D99-41FC-A781-132C57B983DC}" dt="2022-01-10T16:47:24.137" v="382" actId="1076"/>
          <ac:picMkLst>
            <pc:docMk/>
            <pc:sldMk cId="2225579735" sldId="866"/>
            <ac:picMk id="8" creationId="{0B4710CA-21DF-4B59-B3A3-71B1F1B0C134}"/>
          </ac:picMkLst>
        </pc:picChg>
      </pc:sldChg>
      <pc:sldChg chg="addSp modSp new mod">
        <pc:chgData name="Federico Forti (Annalect UK)" userId="95dd6b21-b4ac-4cef-b63e-89b200a05b54" providerId="ADAL" clId="{6D614808-3D99-41FC-A781-132C57B983DC}" dt="2022-01-11T12:22:46.930" v="2881" actId="2085"/>
        <pc:sldMkLst>
          <pc:docMk/>
          <pc:sldMk cId="4259115753" sldId="867"/>
        </pc:sldMkLst>
        <pc:spChg chg="mod">
          <ac:chgData name="Federico Forti (Annalect UK)" userId="95dd6b21-b4ac-4cef-b63e-89b200a05b54" providerId="ADAL" clId="{6D614808-3D99-41FC-A781-132C57B983DC}" dt="2022-01-10T17:05:10.122" v="935" actId="20577"/>
          <ac:spMkLst>
            <pc:docMk/>
            <pc:sldMk cId="4259115753" sldId="867"/>
            <ac:spMk id="4" creationId="{74C90280-C948-4F1F-BADD-0CBE1551830F}"/>
          </ac:spMkLst>
        </pc:spChg>
        <pc:spChg chg="add mod">
          <ac:chgData name="Federico Forti (Annalect UK)" userId="95dd6b21-b4ac-4cef-b63e-89b200a05b54" providerId="ADAL" clId="{6D614808-3D99-41FC-A781-132C57B983DC}" dt="2022-01-11T12:22:46.930" v="2881" actId="2085"/>
          <ac:spMkLst>
            <pc:docMk/>
            <pc:sldMk cId="4259115753" sldId="867"/>
            <ac:spMk id="6" creationId="{7F9B3E31-E393-413F-9F05-57C13465E903}"/>
          </ac:spMkLst>
        </pc:spChg>
        <pc:graphicFrameChg chg="add mod modGraphic">
          <ac:chgData name="Federico Forti (Annalect UK)" userId="95dd6b21-b4ac-4cef-b63e-89b200a05b54" providerId="ADAL" clId="{6D614808-3D99-41FC-A781-132C57B983DC}" dt="2022-01-10T17:18:47.330" v="2102" actId="404"/>
          <ac:graphicFrameMkLst>
            <pc:docMk/>
            <pc:sldMk cId="4259115753" sldId="867"/>
            <ac:graphicFrameMk id="5" creationId="{BCEEEE0B-5BFA-4BE2-BF60-E7D48BF81BD7}"/>
          </ac:graphicFrameMkLst>
        </pc:graphicFrameChg>
      </pc:sldChg>
      <pc:sldChg chg="addSp modSp new mod">
        <pc:chgData name="Federico Forti (Annalect UK)" userId="95dd6b21-b4ac-4cef-b63e-89b200a05b54" providerId="ADAL" clId="{6D614808-3D99-41FC-A781-132C57B983DC}" dt="2022-01-10T17:13:54.746" v="1953" actId="1076"/>
        <pc:sldMkLst>
          <pc:docMk/>
          <pc:sldMk cId="1811074872" sldId="868"/>
        </pc:sldMkLst>
        <pc:spChg chg="mod">
          <ac:chgData name="Federico Forti (Annalect UK)" userId="95dd6b21-b4ac-4cef-b63e-89b200a05b54" providerId="ADAL" clId="{6D614808-3D99-41FC-A781-132C57B983DC}" dt="2022-01-10T17:08:34.457" v="1033" actId="20577"/>
          <ac:spMkLst>
            <pc:docMk/>
            <pc:sldMk cId="1811074872" sldId="868"/>
            <ac:spMk id="4" creationId="{7234821B-DAC7-4AEF-82D6-5BFF3CDBF395}"/>
          </ac:spMkLst>
        </pc:spChg>
        <pc:spChg chg="add mod">
          <ac:chgData name="Federico Forti (Annalect UK)" userId="95dd6b21-b4ac-4cef-b63e-89b200a05b54" providerId="ADAL" clId="{6D614808-3D99-41FC-A781-132C57B983DC}" dt="2022-01-10T17:13:44.522" v="1949" actId="20577"/>
          <ac:spMkLst>
            <pc:docMk/>
            <pc:sldMk cId="1811074872" sldId="868"/>
            <ac:spMk id="6" creationId="{C6291163-5A07-407A-A45E-29A9AB763581}"/>
          </ac:spMkLst>
        </pc:spChg>
        <pc:picChg chg="add mod">
          <ac:chgData name="Federico Forti (Annalect UK)" userId="95dd6b21-b4ac-4cef-b63e-89b200a05b54" providerId="ADAL" clId="{6D614808-3D99-41FC-A781-132C57B983DC}" dt="2022-01-10T17:13:54.746" v="1953" actId="1076"/>
          <ac:picMkLst>
            <pc:docMk/>
            <pc:sldMk cId="1811074872" sldId="868"/>
            <ac:picMk id="5" creationId="{93F7FEFD-AD4D-4B82-B32B-23059A26E137}"/>
          </ac:picMkLst>
        </pc:picChg>
      </pc:sldChg>
      <pc:sldChg chg="addSp delSp modSp add mod">
        <pc:chgData name="Federico Forti (Annalect UK)" userId="95dd6b21-b4ac-4cef-b63e-89b200a05b54" providerId="ADAL" clId="{6D614808-3D99-41FC-A781-132C57B983DC}" dt="2022-01-11T14:05:01.359" v="3043" actId="1076"/>
        <pc:sldMkLst>
          <pc:docMk/>
          <pc:sldMk cId="3244587997" sldId="869"/>
        </pc:sldMkLst>
        <pc:spChg chg="add mod">
          <ac:chgData name="Federico Forti (Annalect UK)" userId="95dd6b21-b4ac-4cef-b63e-89b200a05b54" providerId="ADAL" clId="{6D614808-3D99-41FC-A781-132C57B983DC}" dt="2022-01-11T14:05:01.359" v="3043" actId="1076"/>
          <ac:spMkLst>
            <pc:docMk/>
            <pc:sldMk cId="3244587997" sldId="869"/>
            <ac:spMk id="3" creationId="{02791887-C37E-4F82-81E4-01B583695A8D}"/>
          </ac:spMkLst>
        </pc:spChg>
        <pc:spChg chg="mod">
          <ac:chgData name="Federico Forti (Annalect UK)" userId="95dd6b21-b4ac-4cef-b63e-89b200a05b54" providerId="ADAL" clId="{6D614808-3D99-41FC-A781-132C57B983DC}" dt="2022-01-10T17:35:18.106" v="2400" actId="20577"/>
          <ac:spMkLst>
            <pc:docMk/>
            <pc:sldMk cId="3244587997" sldId="869"/>
            <ac:spMk id="5" creationId="{925A477A-D2B5-4795-B0C9-A7D1BD192B3F}"/>
          </ac:spMkLst>
        </pc:spChg>
        <pc:spChg chg="del">
          <ac:chgData name="Federico Forti (Annalect UK)" userId="95dd6b21-b4ac-4cef-b63e-89b200a05b54" providerId="ADAL" clId="{6D614808-3D99-41FC-A781-132C57B983DC}" dt="2022-01-10T17:32:21.578" v="2108" actId="478"/>
          <ac:spMkLst>
            <pc:docMk/>
            <pc:sldMk cId="3244587997" sldId="869"/>
            <ac:spMk id="8" creationId="{F1A645E6-3172-4DCD-AF58-FEA5D0B02F6B}"/>
          </ac:spMkLst>
        </pc:spChg>
        <pc:graphicFrameChg chg="mod">
          <ac:chgData name="Federico Forti (Annalect UK)" userId="95dd6b21-b4ac-4cef-b63e-89b200a05b54" providerId="ADAL" clId="{6D614808-3D99-41FC-A781-132C57B983DC}" dt="2022-01-10T17:35:03.456" v="2375" actId="20577"/>
          <ac:graphicFrameMkLst>
            <pc:docMk/>
            <pc:sldMk cId="3244587997" sldId="869"/>
            <ac:graphicFrameMk id="9" creationId="{8AACE157-1F1B-48CE-868D-32C1796D0893}"/>
          </ac:graphicFrameMkLst>
        </pc:graphicFrameChg>
        <pc:picChg chg="del">
          <ac:chgData name="Federico Forti (Annalect UK)" userId="95dd6b21-b4ac-4cef-b63e-89b200a05b54" providerId="ADAL" clId="{6D614808-3D99-41FC-A781-132C57B983DC}" dt="2022-01-10T17:31:27.786" v="2104" actId="478"/>
          <ac:picMkLst>
            <pc:docMk/>
            <pc:sldMk cId="3244587997" sldId="869"/>
            <ac:picMk id="16" creationId="{C5C25DA8-08E3-4E84-9CC3-DD69D5CAEB0B}"/>
          </ac:picMkLst>
        </pc:picChg>
        <pc:picChg chg="add mod">
          <ac:chgData name="Federico Forti (Annalect UK)" userId="95dd6b21-b4ac-4cef-b63e-89b200a05b54" providerId="ADAL" clId="{6D614808-3D99-41FC-A781-132C57B983DC}" dt="2022-01-10T17:32:10.262" v="2107" actId="1076"/>
          <ac:picMkLst>
            <pc:docMk/>
            <pc:sldMk cId="3244587997" sldId="869"/>
            <ac:picMk id="2050" creationId="{BDDB946A-5B9B-4048-83C3-6A83F91951EC}"/>
          </ac:picMkLst>
        </pc:picChg>
      </pc:sldChg>
      <pc:sldChg chg="addSp delSp modSp new mod">
        <pc:chgData name="Federico Forti (Annalect UK)" userId="95dd6b21-b4ac-4cef-b63e-89b200a05b54" providerId="ADAL" clId="{6D614808-3D99-41FC-A781-132C57B983DC}" dt="2022-01-11T09:55:48.017" v="2589" actId="207"/>
        <pc:sldMkLst>
          <pc:docMk/>
          <pc:sldMk cId="4184095700" sldId="870"/>
        </pc:sldMkLst>
        <pc:spChg chg="del">
          <ac:chgData name="Federico Forti (Annalect UK)" userId="95dd6b21-b4ac-4cef-b63e-89b200a05b54" providerId="ADAL" clId="{6D614808-3D99-41FC-A781-132C57B983DC}" dt="2022-01-11T09:55:24.389" v="2586" actId="931"/>
          <ac:spMkLst>
            <pc:docMk/>
            <pc:sldMk cId="4184095700" sldId="870"/>
            <ac:spMk id="2" creationId="{5DA0B466-06BA-4BB8-97F0-386D94A626B7}"/>
          </ac:spMkLst>
        </pc:spChg>
        <pc:spChg chg="mod">
          <ac:chgData name="Federico Forti (Annalect UK)" userId="95dd6b21-b4ac-4cef-b63e-89b200a05b54" providerId="ADAL" clId="{6D614808-3D99-41FC-A781-132C57B983DC}" dt="2022-01-11T09:53:46.520" v="2572" actId="20577"/>
          <ac:spMkLst>
            <pc:docMk/>
            <pc:sldMk cId="4184095700" sldId="870"/>
            <ac:spMk id="5" creationId="{748CCF78-3218-4150-B18D-8E3ECD1CD2F4}"/>
          </ac:spMkLst>
        </pc:spChg>
        <pc:spChg chg="mod">
          <ac:chgData name="Federico Forti (Annalect UK)" userId="95dd6b21-b4ac-4cef-b63e-89b200a05b54" providerId="ADAL" clId="{6D614808-3D99-41FC-A781-132C57B983DC}" dt="2022-01-11T09:53:57.378" v="2575" actId="20577"/>
          <ac:spMkLst>
            <pc:docMk/>
            <pc:sldMk cId="4184095700" sldId="870"/>
            <ac:spMk id="6" creationId="{A5B1467A-3731-404E-B8CD-C253A9881B4F}"/>
          </ac:spMkLst>
        </pc:spChg>
        <pc:spChg chg="mod">
          <ac:chgData name="Federico Forti (Annalect UK)" userId="95dd6b21-b4ac-4cef-b63e-89b200a05b54" providerId="ADAL" clId="{6D614808-3D99-41FC-A781-132C57B983DC}" dt="2022-01-11T09:53:58.374" v="2576" actId="20577"/>
          <ac:spMkLst>
            <pc:docMk/>
            <pc:sldMk cId="4184095700" sldId="870"/>
            <ac:spMk id="7" creationId="{411C8E94-CAF0-43C9-81E4-8E4FC4A09EEE}"/>
          </ac:spMkLst>
        </pc:spChg>
        <pc:spChg chg="mod">
          <ac:chgData name="Federico Forti (Annalect UK)" userId="95dd6b21-b4ac-4cef-b63e-89b200a05b54" providerId="ADAL" clId="{6D614808-3D99-41FC-A781-132C57B983DC}" dt="2022-01-11T09:53:59.499" v="2577" actId="20577"/>
          <ac:spMkLst>
            <pc:docMk/>
            <pc:sldMk cId="4184095700" sldId="870"/>
            <ac:spMk id="8" creationId="{9771FCFE-D0B8-42B2-845E-C7A85638179A}"/>
          </ac:spMkLst>
        </pc:spChg>
        <pc:spChg chg="mod">
          <ac:chgData name="Federico Forti (Annalect UK)" userId="95dd6b21-b4ac-4cef-b63e-89b200a05b54" providerId="ADAL" clId="{6D614808-3D99-41FC-A781-132C57B983DC}" dt="2022-01-11T09:53:55.036" v="2574" actId="20577"/>
          <ac:spMkLst>
            <pc:docMk/>
            <pc:sldMk cId="4184095700" sldId="870"/>
            <ac:spMk id="9" creationId="{FF88DCF5-69DE-4AA5-AC5C-7FC88E34BF78}"/>
          </ac:spMkLst>
        </pc:spChg>
        <pc:spChg chg="mod">
          <ac:chgData name="Federico Forti (Annalect UK)" userId="95dd6b21-b4ac-4cef-b63e-89b200a05b54" providerId="ADAL" clId="{6D614808-3D99-41FC-A781-132C57B983DC}" dt="2022-01-11T09:54:13.811" v="2580" actId="20577"/>
          <ac:spMkLst>
            <pc:docMk/>
            <pc:sldMk cId="4184095700" sldId="870"/>
            <ac:spMk id="10" creationId="{C647F789-0BE8-439A-A411-FB4FA82C8D1A}"/>
          </ac:spMkLst>
        </pc:spChg>
        <pc:spChg chg="mod">
          <ac:chgData name="Federico Forti (Annalect UK)" userId="95dd6b21-b4ac-4cef-b63e-89b200a05b54" providerId="ADAL" clId="{6D614808-3D99-41FC-A781-132C57B983DC}" dt="2022-01-11T09:54:20.858" v="2582" actId="20577"/>
          <ac:spMkLst>
            <pc:docMk/>
            <pc:sldMk cId="4184095700" sldId="870"/>
            <ac:spMk id="11" creationId="{D232C03D-E707-4838-A0D3-54113F283639}"/>
          </ac:spMkLst>
        </pc:spChg>
        <pc:spChg chg="mod">
          <ac:chgData name="Federico Forti (Annalect UK)" userId="95dd6b21-b4ac-4cef-b63e-89b200a05b54" providerId="ADAL" clId="{6D614808-3D99-41FC-A781-132C57B983DC}" dt="2022-01-11T09:55:48.017" v="2589" actId="207"/>
          <ac:spMkLst>
            <pc:docMk/>
            <pc:sldMk cId="4184095700" sldId="870"/>
            <ac:spMk id="12" creationId="{A13157B4-AB0A-45A9-A140-04796B2563B3}"/>
          </ac:spMkLst>
        </pc:spChg>
        <pc:spChg chg="mod">
          <ac:chgData name="Federico Forti (Annalect UK)" userId="95dd6b21-b4ac-4cef-b63e-89b200a05b54" providerId="ADAL" clId="{6D614808-3D99-41FC-A781-132C57B983DC}" dt="2022-01-11T09:54:31.652" v="2585" actId="20577"/>
          <ac:spMkLst>
            <pc:docMk/>
            <pc:sldMk cId="4184095700" sldId="870"/>
            <ac:spMk id="13" creationId="{A5A3E635-CAE1-4B09-8F4B-C6AB97ED9F37}"/>
          </ac:spMkLst>
        </pc:spChg>
        <pc:spChg chg="add mod">
          <ac:chgData name="Federico Forti (Annalect UK)" userId="95dd6b21-b4ac-4cef-b63e-89b200a05b54" providerId="ADAL" clId="{6D614808-3D99-41FC-A781-132C57B983DC}" dt="2022-01-11T09:55:48.017" v="2589" actId="207"/>
          <ac:spMkLst>
            <pc:docMk/>
            <pc:sldMk cId="4184095700" sldId="870"/>
            <ac:spMk id="16" creationId="{DD086B6D-7E3F-46F3-9908-2C12E6891634}"/>
          </ac:spMkLst>
        </pc:spChg>
        <pc:spChg chg="add mod">
          <ac:chgData name="Federico Forti (Annalect UK)" userId="95dd6b21-b4ac-4cef-b63e-89b200a05b54" providerId="ADAL" clId="{6D614808-3D99-41FC-A781-132C57B983DC}" dt="2022-01-11T09:55:48.017" v="2589" actId="207"/>
          <ac:spMkLst>
            <pc:docMk/>
            <pc:sldMk cId="4184095700" sldId="870"/>
            <ac:spMk id="17" creationId="{6D37A2C8-A3EA-4E0E-81D3-32552826285F}"/>
          </ac:spMkLst>
        </pc:spChg>
        <pc:spChg chg="add mod">
          <ac:chgData name="Federico Forti (Annalect UK)" userId="95dd6b21-b4ac-4cef-b63e-89b200a05b54" providerId="ADAL" clId="{6D614808-3D99-41FC-A781-132C57B983DC}" dt="2022-01-11T09:55:48.017" v="2589" actId="207"/>
          <ac:spMkLst>
            <pc:docMk/>
            <pc:sldMk cId="4184095700" sldId="870"/>
            <ac:spMk id="18" creationId="{95F0AE77-F687-444A-9C08-39FFB18819FE}"/>
          </ac:spMkLst>
        </pc:spChg>
        <pc:picChg chg="add mod">
          <ac:chgData name="Federico Forti (Annalect UK)" userId="95dd6b21-b4ac-4cef-b63e-89b200a05b54" providerId="ADAL" clId="{6D614808-3D99-41FC-A781-132C57B983DC}" dt="2022-01-11T09:55:30.388" v="2587" actId="27614"/>
          <ac:picMkLst>
            <pc:docMk/>
            <pc:sldMk cId="4184095700" sldId="870"/>
            <ac:picMk id="15" creationId="{4A211792-9EF1-4F9D-91D8-81805C4F57B1}"/>
          </ac:picMkLst>
        </pc:picChg>
      </pc:sldChg>
      <pc:sldMasterChg chg="addSp modSp mod">
        <pc:chgData name="Federico Forti (Annalect UK)" userId="95dd6b21-b4ac-4cef-b63e-89b200a05b54" providerId="ADAL" clId="{6D614808-3D99-41FC-A781-132C57B983DC}" dt="2022-01-11T09:44:27.481" v="2501" actId="1036"/>
        <pc:sldMasterMkLst>
          <pc:docMk/>
          <pc:sldMasterMk cId="3101792077" sldId="2147483913"/>
        </pc:sldMasterMkLst>
        <pc:spChg chg="add mod">
          <ac:chgData name="Federico Forti (Annalect UK)" userId="95dd6b21-b4ac-4cef-b63e-89b200a05b54" providerId="ADAL" clId="{6D614808-3D99-41FC-A781-132C57B983DC}" dt="2022-01-11T09:44:16.537" v="2491" actId="12789"/>
          <ac:spMkLst>
            <pc:docMk/>
            <pc:sldMasterMk cId="3101792077" sldId="2147483913"/>
            <ac:spMk id="3" creationId="{6AC9256B-67A1-4932-AC87-19F4B8134A74}"/>
          </ac:spMkLst>
        </pc:spChg>
        <pc:spChg chg="mod">
          <ac:chgData name="Federico Forti (Annalect UK)" userId="95dd6b21-b4ac-4cef-b63e-89b200a05b54" providerId="ADAL" clId="{6D614808-3D99-41FC-A781-132C57B983DC}" dt="2022-01-11T09:44:16.537" v="2491" actId="12789"/>
          <ac:spMkLst>
            <pc:docMk/>
            <pc:sldMasterMk cId="3101792077" sldId="2147483913"/>
            <ac:spMk id="17" creationId="{CEAB3D10-88BC-1949-8B76-2BE787B52690}"/>
          </ac:spMkLst>
        </pc:spChg>
        <pc:spChg chg="mod">
          <ac:chgData name="Federico Forti (Annalect UK)" userId="95dd6b21-b4ac-4cef-b63e-89b200a05b54" providerId="ADAL" clId="{6D614808-3D99-41FC-A781-132C57B983DC}" dt="2022-01-11T09:44:16.537" v="2491" actId="12789"/>
          <ac:spMkLst>
            <pc:docMk/>
            <pc:sldMasterMk cId="3101792077" sldId="2147483913"/>
            <ac:spMk id="18" creationId="{158B1095-6594-B544-A482-22CF507FB3F3}"/>
          </ac:spMkLst>
        </pc:spChg>
        <pc:spChg chg="mod">
          <ac:chgData name="Federico Forti (Annalect UK)" userId="95dd6b21-b4ac-4cef-b63e-89b200a05b54" providerId="ADAL" clId="{6D614808-3D99-41FC-A781-132C57B983DC}" dt="2022-01-11T09:44:16.537" v="2491" actId="12789"/>
          <ac:spMkLst>
            <pc:docMk/>
            <pc:sldMasterMk cId="3101792077" sldId="2147483913"/>
            <ac:spMk id="19" creationId="{9EC4B6A0-7673-2F43-994F-F9D85A790CAA}"/>
          </ac:spMkLst>
        </pc:spChg>
        <pc:spChg chg="mod">
          <ac:chgData name="Federico Forti (Annalect UK)" userId="95dd6b21-b4ac-4cef-b63e-89b200a05b54" providerId="ADAL" clId="{6D614808-3D99-41FC-A781-132C57B983DC}" dt="2022-01-11T09:44:16.537" v="2491" actId="12789"/>
          <ac:spMkLst>
            <pc:docMk/>
            <pc:sldMasterMk cId="3101792077" sldId="2147483913"/>
            <ac:spMk id="20" creationId="{6516AD75-1970-4F40-B757-9A442B2886A6}"/>
          </ac:spMkLst>
        </pc:spChg>
        <pc:spChg chg="mod">
          <ac:chgData name="Federico Forti (Annalect UK)" userId="95dd6b21-b4ac-4cef-b63e-89b200a05b54" providerId="ADAL" clId="{6D614808-3D99-41FC-A781-132C57B983DC}" dt="2022-01-11T09:44:16.537" v="2491" actId="12789"/>
          <ac:spMkLst>
            <pc:docMk/>
            <pc:sldMasterMk cId="3101792077" sldId="2147483913"/>
            <ac:spMk id="21" creationId="{C00F3C5B-BE56-7347-A9FE-8615DD35392C}"/>
          </ac:spMkLst>
        </pc:spChg>
        <pc:spChg chg="mod">
          <ac:chgData name="Federico Forti (Annalect UK)" userId="95dd6b21-b4ac-4cef-b63e-89b200a05b54" providerId="ADAL" clId="{6D614808-3D99-41FC-A781-132C57B983DC}" dt="2022-01-11T09:44:16.537" v="2491" actId="12789"/>
          <ac:spMkLst>
            <pc:docMk/>
            <pc:sldMasterMk cId="3101792077" sldId="2147483913"/>
            <ac:spMk id="22" creationId="{7076E59E-9688-B440-AF4E-280521AE6F1B}"/>
          </ac:spMkLst>
        </pc:spChg>
        <pc:grpChg chg="mod">
          <ac:chgData name="Federico Forti (Annalect UK)" userId="95dd6b21-b4ac-4cef-b63e-89b200a05b54" providerId="ADAL" clId="{6D614808-3D99-41FC-A781-132C57B983DC}" dt="2022-01-11T09:44:16.537" v="2491" actId="12789"/>
          <ac:grpSpMkLst>
            <pc:docMk/>
            <pc:sldMasterMk cId="3101792077" sldId="2147483913"/>
            <ac:grpSpMk id="16" creationId="{5E4D6BDD-7751-EA48-BA2D-9C4012045E8B}"/>
          </ac:grpSpMkLst>
        </pc:grpChg>
        <pc:picChg chg="add mod">
          <ac:chgData name="Federico Forti (Annalect UK)" userId="95dd6b21-b4ac-4cef-b63e-89b200a05b54" providerId="ADAL" clId="{6D614808-3D99-41FC-A781-132C57B983DC}" dt="2022-01-11T09:44:27.481" v="2501" actId="1036"/>
          <ac:picMkLst>
            <pc:docMk/>
            <pc:sldMasterMk cId="3101792077" sldId="2147483913"/>
            <ac:picMk id="12" creationId="{9A7BE73E-6F3E-43F9-BA5C-154725011DCF}"/>
          </ac:picMkLst>
        </pc:picChg>
      </pc:sldMasterChg>
    </pc:docChg>
  </pc:docChgLst>
  <pc:docChgLst>
    <pc:chgData name="Federico Forti (Annalect UK)" userId="95dd6b21-b4ac-4cef-b63e-89b200a05b54" providerId="ADAL" clId="{EB90C319-3998-4A4C-99E6-4BA085E430D6}"/>
    <pc:docChg chg="modSld">
      <pc:chgData name="Federico Forti (Annalect UK)" userId="95dd6b21-b4ac-4cef-b63e-89b200a05b54" providerId="ADAL" clId="{EB90C319-3998-4A4C-99E6-4BA085E430D6}" dt="2022-03-16T10:49:45.475" v="9"/>
      <pc:docMkLst>
        <pc:docMk/>
      </pc:docMkLst>
      <pc:sldChg chg="modSp mod">
        <pc:chgData name="Federico Forti (Annalect UK)" userId="95dd6b21-b4ac-4cef-b63e-89b200a05b54" providerId="ADAL" clId="{EB90C319-3998-4A4C-99E6-4BA085E430D6}" dt="2022-03-16T10:49:45.475" v="9"/>
        <pc:sldMkLst>
          <pc:docMk/>
          <pc:sldMk cId="4259115753" sldId="867"/>
        </pc:sldMkLst>
        <pc:spChg chg="mod">
          <ac:chgData name="Federico Forti (Annalect UK)" userId="95dd6b21-b4ac-4cef-b63e-89b200a05b54" providerId="ADAL" clId="{EB90C319-3998-4A4C-99E6-4BA085E430D6}" dt="2022-03-16T10:49:45.475" v="9"/>
          <ac:spMkLst>
            <pc:docMk/>
            <pc:sldMk cId="4259115753" sldId="867"/>
            <ac:spMk id="3" creationId="{0A27851B-3844-4A64-885B-D2245B2203AF}"/>
          </ac:spMkLst>
        </pc:spChg>
        <pc:spChg chg="mod">
          <ac:chgData name="Federico Forti (Annalect UK)" userId="95dd6b21-b4ac-4cef-b63e-89b200a05b54" providerId="ADAL" clId="{EB90C319-3998-4A4C-99E6-4BA085E430D6}" dt="2022-03-16T10:49:44.390" v="8" actId="21"/>
          <ac:spMkLst>
            <pc:docMk/>
            <pc:sldMk cId="4259115753" sldId="867"/>
            <ac:spMk id="6" creationId="{7F9B3E31-E393-413F-9F05-57C13465E903}"/>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1"/>
          <c:order val="0"/>
          <c:tx>
            <c:strRef>
              <c:f>Sheet1!$C$1</c:f>
              <c:strCache>
                <c:ptCount val="1"/>
                <c:pt idx="0">
                  <c:v>Series 2</c:v>
                </c:pt>
              </c:strCache>
            </c:strRef>
          </c:tx>
          <c:spPr>
            <a:noFill/>
            <a:ln>
              <a:noFill/>
            </a:ln>
          </c:spPr>
          <c:invertIfNegative val="0"/>
          <c:cat>
            <c:strRef>
              <c:f>Sheet1!$A$2:$A$8</c:f>
              <c:strCache>
                <c:ptCount val="7"/>
                <c:pt idx="0">
                  <c:v>Share of market</c:v>
                </c:pt>
                <c:pt idx="1">
                  <c:v>Recommendation</c:v>
                </c:pt>
                <c:pt idx="2">
                  <c:v>Current Customer</c:v>
                </c:pt>
                <c:pt idx="3">
                  <c:v>Purchase Intent</c:v>
                </c:pt>
                <c:pt idx="4">
                  <c:v>Consideration</c:v>
                </c:pt>
                <c:pt idx="5">
                  <c:v>Brand Awareness</c:v>
                </c:pt>
                <c:pt idx="6">
                  <c:v>Ad Awareness</c:v>
                </c:pt>
              </c:strCache>
            </c:strRef>
          </c:cat>
          <c:val>
            <c:numRef>
              <c:f>Sheet1!$C$2:$C$8</c:f>
              <c:numCache>
                <c:formatCode>General</c:formatCode>
                <c:ptCount val="7"/>
                <c:pt idx="0">
                  <c:v>0.44</c:v>
                </c:pt>
                <c:pt idx="1">
                  <c:v>0.33365269025010946</c:v>
                </c:pt>
                <c:pt idx="2">
                  <c:v>0.29679885617878088</c:v>
                </c:pt>
                <c:pt idx="3">
                  <c:v>0.41221458613371204</c:v>
                </c:pt>
                <c:pt idx="4">
                  <c:v>0.27176034200707433</c:v>
                </c:pt>
                <c:pt idx="5">
                  <c:v>2.1738606930016058E-2</c:v>
                </c:pt>
                <c:pt idx="6">
                  <c:v>0.35816283219965617</c:v>
                </c:pt>
              </c:numCache>
            </c:numRef>
          </c:val>
          <c:extLst>
            <c:ext xmlns:c16="http://schemas.microsoft.com/office/drawing/2014/chart" uri="{C3380CC4-5D6E-409C-BE32-E72D297353CC}">
              <c16:uniqueId val="{00000000-089B-490C-BDE5-8F28F0603FA1}"/>
            </c:ext>
          </c:extLst>
        </c:ser>
        <c:ser>
          <c:idx val="0"/>
          <c:order val="1"/>
          <c:tx>
            <c:strRef>
              <c:f>Sheet1!$B$1</c:f>
              <c:strCache>
                <c:ptCount val="1"/>
                <c:pt idx="0">
                  <c:v>Series 1</c:v>
                </c:pt>
              </c:strCache>
            </c:strRef>
          </c:tx>
          <c:spPr>
            <a:solidFill>
              <a:schemeClr val="accent4"/>
            </a:solidFill>
            <a:ln>
              <a:noFill/>
            </a:ln>
          </c:spPr>
          <c:invertIfNegative val="0"/>
          <c:dLbls>
            <c:dLbl>
              <c:idx val="0"/>
              <c:numFmt formatCode="0.0%" sourceLinked="0"/>
              <c:spPr/>
              <c:txPr>
                <a:bodyPr/>
                <a:lstStyle/>
                <a:p>
                  <a:pPr algn="ctr">
                    <a:defRPr lang="en-US" sz="900" b="0" i="0" u="none" strike="noStrike" kern="1200" baseline="0">
                      <a:solidFill>
                        <a:srgbClr val="05234C"/>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089B-490C-BDE5-8F28F0603FA1}"/>
                </c:ext>
              </c:extLst>
            </c:dLbl>
            <c:dLbl>
              <c:idx val="1"/>
              <c:numFmt formatCode="0.0%" sourceLinked="0"/>
              <c:spPr/>
              <c:txPr>
                <a:bodyPr/>
                <a:lstStyle/>
                <a:p>
                  <a:pPr>
                    <a:defRPr sz="900">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2-089B-490C-BDE5-8F28F0603FA1}"/>
                </c:ext>
              </c:extLst>
            </c:dLbl>
            <c:dLbl>
              <c:idx val="2"/>
              <c:numFmt formatCode="0.0%" sourceLinked="0"/>
              <c:spPr/>
              <c:txPr>
                <a:bodyPr/>
                <a:lstStyle/>
                <a:p>
                  <a:pPr>
                    <a:defRPr sz="900">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3-089B-490C-BDE5-8F28F0603FA1}"/>
                </c:ext>
              </c:extLst>
            </c:dLbl>
            <c:dLbl>
              <c:idx val="3"/>
              <c:numFmt formatCode="0.0%" sourceLinked="0"/>
              <c:spPr/>
              <c:txPr>
                <a:bodyPr/>
                <a:lstStyle/>
                <a:p>
                  <a:pPr>
                    <a:defRPr sz="900">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4-089B-490C-BDE5-8F28F0603FA1}"/>
                </c:ext>
              </c:extLst>
            </c:dLbl>
            <c:dLbl>
              <c:idx val="4"/>
              <c:numFmt formatCode="0.0%" sourceLinked="0"/>
              <c:spPr/>
              <c:txPr>
                <a:bodyPr/>
                <a:lstStyle/>
                <a:p>
                  <a:pPr>
                    <a:defRPr sz="900">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089B-490C-BDE5-8F28F0603FA1}"/>
                </c:ext>
              </c:extLst>
            </c:dLbl>
            <c:dLbl>
              <c:idx val="5"/>
              <c:numFmt formatCode="0.0%" sourceLinked="0"/>
              <c:spPr/>
              <c:txPr>
                <a:bodyPr/>
                <a:lstStyle/>
                <a:p>
                  <a:pPr>
                    <a:defRPr sz="900">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6-089B-490C-BDE5-8F28F0603FA1}"/>
                </c:ext>
              </c:extLst>
            </c:dLbl>
            <c:dLbl>
              <c:idx val="6"/>
              <c:numFmt formatCode="0.0%" sourceLinked="0"/>
              <c:spPr/>
              <c:txPr>
                <a:bodyPr/>
                <a:lstStyle/>
                <a:p>
                  <a:pPr>
                    <a:defRPr sz="900">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7-089B-490C-BDE5-8F28F0603FA1}"/>
                </c:ext>
              </c:extLst>
            </c:dLbl>
            <c:numFmt formatCode="0.0%" sourceLinked="0"/>
            <c:spPr>
              <a:noFill/>
              <a:ln>
                <a:noFill/>
              </a:ln>
              <a:effectLst/>
            </c:spPr>
            <c:txPr>
              <a:bodyPr/>
              <a:lstStyle/>
              <a:p>
                <a:pPr>
                  <a:defRPr sz="90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hare of market</c:v>
                </c:pt>
                <c:pt idx="1">
                  <c:v>Recommendation</c:v>
                </c:pt>
                <c:pt idx="2">
                  <c:v>Current Customer</c:v>
                </c:pt>
                <c:pt idx="3">
                  <c:v>Purchase Intent</c:v>
                </c:pt>
                <c:pt idx="4">
                  <c:v>Consideration</c:v>
                </c:pt>
                <c:pt idx="5">
                  <c:v>Brand Awareness</c:v>
                </c:pt>
                <c:pt idx="6">
                  <c:v>Ad Awareness</c:v>
                </c:pt>
              </c:strCache>
            </c:strRef>
          </c:cat>
          <c:val>
            <c:numRef>
              <c:f>Sheet1!$B$2:$B$8</c:f>
              <c:numCache>
                <c:formatCode>General</c:formatCode>
                <c:ptCount val="7"/>
                <c:pt idx="0">
                  <c:v>0.12</c:v>
                </c:pt>
                <c:pt idx="1">
                  <c:v>0.33269461949978107</c:v>
                </c:pt>
                <c:pt idx="2">
                  <c:v>0.4064022876424383</c:v>
                </c:pt>
                <c:pt idx="3">
                  <c:v>0.17557082773257593</c:v>
                </c:pt>
                <c:pt idx="4">
                  <c:v>0.45647931598585134</c:v>
                </c:pt>
                <c:pt idx="5">
                  <c:v>0.95652278613996788</c:v>
                </c:pt>
                <c:pt idx="6">
                  <c:v>0.28367433560068761</c:v>
                </c:pt>
              </c:numCache>
            </c:numRef>
          </c:val>
          <c:extLst>
            <c:ext xmlns:c16="http://schemas.microsoft.com/office/drawing/2014/chart" uri="{C3380CC4-5D6E-409C-BE32-E72D297353CC}">
              <c16:uniqueId val="{00000008-089B-490C-BDE5-8F28F0603FA1}"/>
            </c:ext>
          </c:extLst>
        </c:ser>
        <c:dLbls>
          <c:showLegendKey val="0"/>
          <c:showVal val="0"/>
          <c:showCatName val="0"/>
          <c:showSerName val="0"/>
          <c:showPercent val="0"/>
          <c:showBubbleSize val="0"/>
        </c:dLbls>
        <c:gapWidth val="20"/>
        <c:overlap val="100"/>
        <c:axId val="380602240"/>
        <c:axId val="380605768"/>
      </c:barChart>
      <c:catAx>
        <c:axId val="380602240"/>
        <c:scaling>
          <c:orientation val="minMax"/>
        </c:scaling>
        <c:delete val="0"/>
        <c:axPos val="l"/>
        <c:numFmt formatCode="General" sourceLinked="0"/>
        <c:majorTickMark val="out"/>
        <c:minorTickMark val="none"/>
        <c:tickLblPos val="nextTo"/>
        <c:spPr>
          <a:ln>
            <a:noFill/>
          </a:ln>
        </c:spPr>
        <c:txPr>
          <a:bodyPr/>
          <a:lstStyle/>
          <a:p>
            <a:pPr>
              <a:defRPr sz="1200">
                <a:solidFill>
                  <a:schemeClr val="bg1"/>
                </a:solidFill>
              </a:defRPr>
            </a:pPr>
            <a:endParaRPr lang="en-US"/>
          </a:p>
        </c:txPr>
        <c:crossAx val="380605768"/>
        <c:crosses val="autoZero"/>
        <c:auto val="1"/>
        <c:lblAlgn val="ctr"/>
        <c:lblOffset val="100"/>
        <c:noMultiLvlLbl val="0"/>
      </c:catAx>
      <c:valAx>
        <c:axId val="380605768"/>
        <c:scaling>
          <c:orientation val="minMax"/>
          <c:max val="1"/>
        </c:scaling>
        <c:delete val="1"/>
        <c:axPos val="b"/>
        <c:numFmt formatCode="General" sourceLinked="1"/>
        <c:majorTickMark val="out"/>
        <c:minorTickMark val="none"/>
        <c:tickLblPos val="nextTo"/>
        <c:crossAx val="38060224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1"/>
          <c:order val="0"/>
          <c:tx>
            <c:strRef>
              <c:f>Sheet1!$C$1</c:f>
              <c:strCache>
                <c:ptCount val="1"/>
                <c:pt idx="0">
                  <c:v>Series 2</c:v>
                </c:pt>
              </c:strCache>
            </c:strRef>
          </c:tx>
          <c:spPr>
            <a:noFill/>
            <a:ln>
              <a:noFill/>
            </a:ln>
          </c:spPr>
          <c:invertIfNegative val="0"/>
          <c:cat>
            <c:strRef>
              <c:f>Sheet1!$A$2:$A$8</c:f>
              <c:strCache>
                <c:ptCount val="7"/>
                <c:pt idx="0">
                  <c:v>Sales</c:v>
                </c:pt>
                <c:pt idx="1">
                  <c:v>Interested in the market</c:v>
                </c:pt>
                <c:pt idx="2">
                  <c:v>Brand Consideration</c:v>
                </c:pt>
                <c:pt idx="3">
                  <c:v>Critical value to their business</c:v>
                </c:pt>
                <c:pt idx="4">
                  <c:v>Familiarity</c:v>
                </c:pt>
                <c:pt idx="5">
                  <c:v>Aided Awareness</c:v>
                </c:pt>
                <c:pt idx="6">
                  <c:v>Unaided Awareness</c:v>
                </c:pt>
              </c:strCache>
            </c:strRef>
          </c:cat>
          <c:val>
            <c:numRef>
              <c:f>Sheet1!$C$2:$C$8</c:f>
              <c:numCache>
                <c:formatCode>General</c:formatCode>
                <c:ptCount val="7"/>
                <c:pt idx="0">
                  <c:v>0.42499999999999999</c:v>
                </c:pt>
                <c:pt idx="1">
                  <c:v>0.39400839190292181</c:v>
                </c:pt>
                <c:pt idx="2">
                  <c:v>0.36683278133601854</c:v>
                </c:pt>
                <c:pt idx="3">
                  <c:v>0.45363871689395885</c:v>
                </c:pt>
                <c:pt idx="4">
                  <c:v>0.34642984122056292</c:v>
                </c:pt>
                <c:pt idx="5">
                  <c:v>2.7535677763808497E-2</c:v>
                </c:pt>
                <c:pt idx="6">
                  <c:v>0.36891606872804172</c:v>
                </c:pt>
              </c:numCache>
            </c:numRef>
          </c:val>
          <c:extLst>
            <c:ext xmlns:c16="http://schemas.microsoft.com/office/drawing/2014/chart" uri="{C3380CC4-5D6E-409C-BE32-E72D297353CC}">
              <c16:uniqueId val="{00000000-8F96-46C2-A415-4F0FC97E3548}"/>
            </c:ext>
          </c:extLst>
        </c:ser>
        <c:ser>
          <c:idx val="0"/>
          <c:order val="1"/>
          <c:tx>
            <c:strRef>
              <c:f>Sheet1!$B$1</c:f>
              <c:strCache>
                <c:ptCount val="1"/>
                <c:pt idx="0">
                  <c:v>Series 1</c:v>
                </c:pt>
              </c:strCache>
            </c:strRef>
          </c:tx>
          <c:spPr>
            <a:solidFill>
              <a:schemeClr val="accent3"/>
            </a:solidFill>
            <a:ln>
              <a:noFill/>
            </a:ln>
          </c:spPr>
          <c:invertIfNegative val="0"/>
          <c:dLbls>
            <c:dLbl>
              <c:idx val="1"/>
              <c:numFmt formatCode="0.0%" sourceLinked="0"/>
              <c:spPr/>
              <c:txPr>
                <a:bodyPr/>
                <a:lstStyle/>
                <a:p>
                  <a:pPr>
                    <a:defRPr sz="9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8F96-46C2-A415-4F0FC97E3548}"/>
                </c:ext>
              </c:extLst>
            </c:dLbl>
            <c:dLbl>
              <c:idx val="2"/>
              <c:numFmt formatCode="0.0%" sourceLinked="0"/>
              <c:spPr/>
              <c:txPr>
                <a:bodyPr/>
                <a:lstStyle/>
                <a:p>
                  <a:pPr>
                    <a:defRPr sz="9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F96-46C2-A415-4F0FC97E3548}"/>
                </c:ext>
              </c:extLst>
            </c:dLbl>
            <c:dLbl>
              <c:idx val="3"/>
              <c:numFmt formatCode="0.0%" sourceLinked="0"/>
              <c:spPr/>
              <c:txPr>
                <a:bodyPr/>
                <a:lstStyle/>
                <a:p>
                  <a:pPr>
                    <a:defRPr sz="9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F96-46C2-A415-4F0FC97E3548}"/>
                </c:ext>
              </c:extLst>
            </c:dLbl>
            <c:dLbl>
              <c:idx val="4"/>
              <c:numFmt formatCode="0.0%" sourceLinked="0"/>
              <c:spPr/>
              <c:txPr>
                <a:bodyPr/>
                <a:lstStyle/>
                <a:p>
                  <a:pPr>
                    <a:defRPr sz="9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F96-46C2-A415-4F0FC97E3548}"/>
                </c:ext>
              </c:extLst>
            </c:dLbl>
            <c:dLbl>
              <c:idx val="5"/>
              <c:numFmt formatCode="0.0%" sourceLinked="0"/>
              <c:spPr/>
              <c:txPr>
                <a:bodyPr/>
                <a:lstStyle/>
                <a:p>
                  <a:pPr>
                    <a:defRPr sz="9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8F96-46C2-A415-4F0FC97E3548}"/>
                </c:ext>
              </c:extLst>
            </c:dLbl>
            <c:dLbl>
              <c:idx val="6"/>
              <c:numFmt formatCode="0.0%" sourceLinked="0"/>
              <c:spPr/>
              <c:txPr>
                <a:bodyPr/>
                <a:lstStyle/>
                <a:p>
                  <a:pPr>
                    <a:defRPr sz="9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8F96-46C2-A415-4F0FC97E3548}"/>
                </c:ext>
              </c:extLst>
            </c:dLbl>
            <c:numFmt formatCode="0.0%" sourceLinked="0"/>
            <c:spPr>
              <a:noFill/>
              <a:ln>
                <a:noFill/>
              </a:ln>
              <a:effectLst/>
            </c:spPr>
            <c:txPr>
              <a:bodyPr/>
              <a:lstStyle/>
              <a:p>
                <a:pPr>
                  <a:defRPr sz="900">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ales</c:v>
                </c:pt>
                <c:pt idx="1">
                  <c:v>Interested in the market</c:v>
                </c:pt>
                <c:pt idx="2">
                  <c:v>Brand Consideration</c:v>
                </c:pt>
                <c:pt idx="3">
                  <c:v>Critical value to their business</c:v>
                </c:pt>
                <c:pt idx="4">
                  <c:v>Familiarity</c:v>
                </c:pt>
                <c:pt idx="5">
                  <c:v>Aided Awareness</c:v>
                </c:pt>
                <c:pt idx="6">
                  <c:v>Unaided Awareness</c:v>
                </c:pt>
              </c:strCache>
            </c:strRef>
          </c:cat>
          <c:val>
            <c:numRef>
              <c:f>Sheet1!$B$2:$B$8</c:f>
              <c:numCache>
                <c:formatCode>General</c:formatCode>
                <c:ptCount val="7"/>
                <c:pt idx="0">
                  <c:v>0.15</c:v>
                </c:pt>
                <c:pt idx="1">
                  <c:v>0.21198321619415642</c:v>
                </c:pt>
                <c:pt idx="2">
                  <c:v>0.26633443732796291</c:v>
                </c:pt>
                <c:pt idx="3">
                  <c:v>9.2722566212082344E-2</c:v>
                </c:pt>
                <c:pt idx="4">
                  <c:v>0.30714031755887417</c:v>
                </c:pt>
                <c:pt idx="5">
                  <c:v>0.94492864447238301</c:v>
                </c:pt>
                <c:pt idx="6">
                  <c:v>0.26216786254391655</c:v>
                </c:pt>
              </c:numCache>
            </c:numRef>
          </c:val>
          <c:extLst>
            <c:ext xmlns:c16="http://schemas.microsoft.com/office/drawing/2014/chart" uri="{C3380CC4-5D6E-409C-BE32-E72D297353CC}">
              <c16:uniqueId val="{00000007-8F96-46C2-A415-4F0FC97E3548}"/>
            </c:ext>
          </c:extLst>
        </c:ser>
        <c:dLbls>
          <c:showLegendKey val="0"/>
          <c:showVal val="0"/>
          <c:showCatName val="0"/>
          <c:showSerName val="0"/>
          <c:showPercent val="0"/>
          <c:showBubbleSize val="0"/>
        </c:dLbls>
        <c:gapWidth val="20"/>
        <c:overlap val="100"/>
        <c:axId val="380585384"/>
        <c:axId val="380606160"/>
      </c:barChart>
      <c:catAx>
        <c:axId val="380585384"/>
        <c:scaling>
          <c:orientation val="minMax"/>
        </c:scaling>
        <c:delete val="0"/>
        <c:axPos val="l"/>
        <c:numFmt formatCode="General" sourceLinked="0"/>
        <c:majorTickMark val="out"/>
        <c:minorTickMark val="none"/>
        <c:tickLblPos val="nextTo"/>
        <c:txPr>
          <a:bodyPr/>
          <a:lstStyle/>
          <a:p>
            <a:pPr>
              <a:defRPr sz="1050"/>
            </a:pPr>
            <a:endParaRPr lang="en-US"/>
          </a:p>
        </c:txPr>
        <c:crossAx val="380606160"/>
        <c:crosses val="autoZero"/>
        <c:auto val="1"/>
        <c:lblAlgn val="ctr"/>
        <c:lblOffset val="100"/>
        <c:noMultiLvlLbl val="0"/>
      </c:catAx>
      <c:valAx>
        <c:axId val="380606160"/>
        <c:scaling>
          <c:orientation val="minMax"/>
          <c:max val="1"/>
        </c:scaling>
        <c:delete val="1"/>
        <c:axPos val="b"/>
        <c:numFmt formatCode="General" sourceLinked="1"/>
        <c:majorTickMark val="out"/>
        <c:minorTickMark val="none"/>
        <c:tickLblPos val="nextTo"/>
        <c:crossAx val="38058538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Column1</c:v>
                </c:pt>
              </c:strCache>
            </c:strRef>
          </c:tx>
          <c:spPr>
            <a:noFill/>
          </c:spPr>
          <c:invertIfNegative val="0"/>
          <c:cat>
            <c:strRef>
              <c:f>Sheet1!$A$2:$A$8</c:f>
              <c:strCache>
                <c:ptCount val="7"/>
                <c:pt idx="0">
                  <c:v>Share of market</c:v>
                </c:pt>
                <c:pt idx="1">
                  <c:v>Current customer</c:v>
                </c:pt>
                <c:pt idx="2">
                  <c:v>Recommendation</c:v>
                </c:pt>
                <c:pt idx="3">
                  <c:v>Consideration</c:v>
                </c:pt>
                <c:pt idx="4">
                  <c:v>Familiarity</c:v>
                </c:pt>
                <c:pt idx="5">
                  <c:v>Awareness</c:v>
                </c:pt>
                <c:pt idx="6">
                  <c:v>Ad Awareness</c:v>
                </c:pt>
              </c:strCache>
            </c:strRef>
          </c:cat>
          <c:val>
            <c:numRef>
              <c:f>Sheet1!$B$2:$B$8</c:f>
              <c:numCache>
                <c:formatCode>General</c:formatCode>
                <c:ptCount val="7"/>
                <c:pt idx="0">
                  <c:v>0.46899999999999997</c:v>
                </c:pt>
                <c:pt idx="1">
                  <c:v>0.48213705572595073</c:v>
                </c:pt>
                <c:pt idx="2">
                  <c:v>0.38809408531887452</c:v>
                </c:pt>
                <c:pt idx="3">
                  <c:v>0.3938698385176635</c:v>
                </c:pt>
                <c:pt idx="4">
                  <c:v>0.33768701778797799</c:v>
                </c:pt>
                <c:pt idx="5">
                  <c:v>6.6729080636328986E-2</c:v>
                </c:pt>
                <c:pt idx="6">
                  <c:v>0.47090923505056675</c:v>
                </c:pt>
              </c:numCache>
            </c:numRef>
          </c:val>
          <c:extLst>
            <c:ext xmlns:c16="http://schemas.microsoft.com/office/drawing/2014/chart" uri="{C3380CC4-5D6E-409C-BE32-E72D297353CC}">
              <c16:uniqueId val="{00000000-1705-4D98-821C-DF4228212AF2}"/>
            </c:ext>
          </c:extLst>
        </c:ser>
        <c:ser>
          <c:idx val="1"/>
          <c:order val="1"/>
          <c:tx>
            <c:strRef>
              <c:f>Sheet1!$C$1</c:f>
              <c:strCache>
                <c:ptCount val="1"/>
                <c:pt idx="0">
                  <c:v>Measure</c:v>
                </c:pt>
              </c:strCache>
            </c:strRef>
          </c:tx>
          <c:spPr>
            <a:solidFill>
              <a:schemeClr val="accent4"/>
            </a:solidFill>
          </c:spPr>
          <c:invertIfNegative val="0"/>
          <c:dLbls>
            <c:dLbl>
              <c:idx val="0"/>
              <c:numFmt formatCode="0.0%" sourceLinked="0"/>
              <c:spPr/>
              <c:txPr>
                <a:bodyPr/>
                <a:lstStyle/>
                <a:p>
                  <a:pPr>
                    <a:defRPr sz="800">
                      <a:solidFill>
                        <a:schemeClr val="tx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1705-4D98-821C-DF4228212AF2}"/>
                </c:ext>
              </c:extLst>
            </c:dLbl>
            <c:dLbl>
              <c:idx val="1"/>
              <c:numFmt formatCode="0.0%" sourceLinked="0"/>
              <c:spPr/>
              <c:txPr>
                <a:bodyPr/>
                <a:lstStyle/>
                <a:p>
                  <a:pPr algn="ctr" rtl="0">
                    <a:defRPr lang="en-GB" sz="800" b="0" i="0" u="none" strike="noStrike" kern="1200" baseline="0">
                      <a:solidFill>
                        <a:srgbClr val="05234C"/>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1705-4D98-821C-DF4228212AF2}"/>
                </c:ext>
              </c:extLst>
            </c:dLbl>
            <c:dLbl>
              <c:idx val="2"/>
              <c:numFmt formatCode="0.0%" sourceLinked="0"/>
              <c:spPr>
                <a:noFill/>
                <a:ln>
                  <a:noFill/>
                </a:ln>
                <a:effectLst/>
              </c:spPr>
              <c:txPr>
                <a:bodyPr/>
                <a:lstStyle/>
                <a:p>
                  <a:pPr>
                    <a:defRPr sz="800">
                      <a:solidFill>
                        <a:schemeClr val="tx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3-1705-4D98-821C-DF4228212AF2}"/>
                </c:ext>
              </c:extLst>
            </c:dLbl>
            <c:dLbl>
              <c:idx val="3"/>
              <c:numFmt formatCode="0.0%" sourceLinked="0"/>
              <c:spPr>
                <a:noFill/>
                <a:ln>
                  <a:noFill/>
                </a:ln>
                <a:effectLst/>
              </c:spPr>
              <c:txPr>
                <a:bodyPr/>
                <a:lstStyle/>
                <a:p>
                  <a:pPr>
                    <a:defRPr sz="800">
                      <a:solidFill>
                        <a:schemeClr val="tx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4-1705-4D98-821C-DF4228212AF2}"/>
                </c:ext>
              </c:extLst>
            </c:dLbl>
            <c:dLbl>
              <c:idx val="5"/>
              <c:numFmt formatCode="0.0%" sourceLinked="0"/>
              <c:spPr/>
              <c:txPr>
                <a:bodyPr/>
                <a:lstStyle/>
                <a:p>
                  <a:pPr algn="ctr" rtl="0">
                    <a:defRPr lang="en-GB"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1705-4D98-821C-DF4228212AF2}"/>
                </c:ext>
              </c:extLst>
            </c:dLbl>
            <c:dLbl>
              <c:idx val="6"/>
              <c:numFmt formatCode="0.0%" sourceLinked="0"/>
              <c:spPr/>
              <c:txPr>
                <a:bodyPr/>
                <a:lstStyle/>
                <a:p>
                  <a:pPr algn="ctr" rtl="0">
                    <a:defRPr lang="en-GB" sz="800" b="0" i="0" u="none" strike="noStrike" kern="1200" baseline="0">
                      <a:solidFill>
                        <a:srgbClr val="05234C"/>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6-1705-4D98-821C-DF4228212AF2}"/>
                </c:ext>
              </c:extLst>
            </c:dLbl>
            <c:dLbl>
              <c:idx val="7"/>
              <c:numFmt formatCode="0.0%" sourceLinked="0"/>
              <c:spPr/>
              <c:txPr>
                <a:bodyPr/>
                <a:lstStyle/>
                <a:p>
                  <a:pPr>
                    <a:defRPr sz="800">
                      <a:solidFill>
                        <a:schemeClr val="tx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7-1705-4D98-821C-DF4228212AF2}"/>
                </c:ext>
              </c:extLst>
            </c:dLbl>
            <c:numFmt formatCode="0.0%" sourceLinked="0"/>
            <c:spPr>
              <a:noFill/>
              <a:ln>
                <a:noFill/>
              </a:ln>
              <a:effectLst/>
            </c:spPr>
            <c:txPr>
              <a:bodyPr/>
              <a:lstStyle/>
              <a:p>
                <a:pPr>
                  <a:defRPr sz="8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hare of market</c:v>
                </c:pt>
                <c:pt idx="1">
                  <c:v>Current customer</c:v>
                </c:pt>
                <c:pt idx="2">
                  <c:v>Recommendation</c:v>
                </c:pt>
                <c:pt idx="3">
                  <c:v>Consideration</c:v>
                </c:pt>
                <c:pt idx="4">
                  <c:v>Familiarity</c:v>
                </c:pt>
                <c:pt idx="5">
                  <c:v>Awareness</c:v>
                </c:pt>
                <c:pt idx="6">
                  <c:v>Ad Awareness</c:v>
                </c:pt>
              </c:strCache>
            </c:strRef>
          </c:cat>
          <c:val>
            <c:numRef>
              <c:f>Sheet1!$C$2:$C$8</c:f>
              <c:numCache>
                <c:formatCode>0.00%</c:formatCode>
                <c:ptCount val="7"/>
                <c:pt idx="0">
                  <c:v>6.2E-2</c:v>
                </c:pt>
                <c:pt idx="1">
                  <c:v>3.5725888548098501E-2</c:v>
                </c:pt>
                <c:pt idx="2">
                  <c:v>0.223811829362251</c:v>
                </c:pt>
                <c:pt idx="3">
                  <c:v>0.21226032296467301</c:v>
                </c:pt>
                <c:pt idx="4">
                  <c:v>0.32462596442404401</c:v>
                </c:pt>
                <c:pt idx="5">
                  <c:v>0.86654183872734203</c:v>
                </c:pt>
                <c:pt idx="6">
                  <c:v>5.8181529898866498E-2</c:v>
                </c:pt>
              </c:numCache>
            </c:numRef>
          </c:val>
          <c:extLst>
            <c:ext xmlns:c16="http://schemas.microsoft.com/office/drawing/2014/chart" uri="{C3380CC4-5D6E-409C-BE32-E72D297353CC}">
              <c16:uniqueId val="{00000008-1705-4D98-821C-DF4228212AF2}"/>
            </c:ext>
          </c:extLst>
        </c:ser>
        <c:ser>
          <c:idx val="2"/>
          <c:order val="2"/>
          <c:tx>
            <c:strRef>
              <c:f>Sheet1!$D$1</c:f>
              <c:strCache>
                <c:ptCount val="1"/>
                <c:pt idx="0">
                  <c:v>Column2</c:v>
                </c:pt>
              </c:strCache>
            </c:strRef>
          </c:tx>
          <c:spPr>
            <a:noFill/>
          </c:spPr>
          <c:invertIfNegative val="0"/>
          <c:cat>
            <c:strRef>
              <c:f>Sheet1!$A$2:$A$8</c:f>
              <c:strCache>
                <c:ptCount val="7"/>
                <c:pt idx="0">
                  <c:v>Share of market</c:v>
                </c:pt>
                <c:pt idx="1">
                  <c:v>Current customer</c:v>
                </c:pt>
                <c:pt idx="2">
                  <c:v>Recommendation</c:v>
                </c:pt>
                <c:pt idx="3">
                  <c:v>Consideration</c:v>
                </c:pt>
                <c:pt idx="4">
                  <c:v>Familiarity</c:v>
                </c:pt>
                <c:pt idx="5">
                  <c:v>Awareness</c:v>
                </c:pt>
                <c:pt idx="6">
                  <c:v>Ad Awareness</c:v>
                </c:pt>
              </c:strCache>
            </c:strRef>
          </c:cat>
          <c:val>
            <c:numRef>
              <c:f>Sheet1!$D$2:$D$8</c:f>
              <c:numCache>
                <c:formatCode>General</c:formatCode>
                <c:ptCount val="7"/>
                <c:pt idx="0">
                  <c:v>0.46899999999999997</c:v>
                </c:pt>
                <c:pt idx="1">
                  <c:v>0.48213705572595073</c:v>
                </c:pt>
                <c:pt idx="2">
                  <c:v>0.38809408531887452</c:v>
                </c:pt>
                <c:pt idx="3">
                  <c:v>0.3938698385176635</c:v>
                </c:pt>
                <c:pt idx="4">
                  <c:v>0.33768701778797799</c:v>
                </c:pt>
                <c:pt idx="5">
                  <c:v>6.6729080636328986E-2</c:v>
                </c:pt>
                <c:pt idx="6">
                  <c:v>0.47090923505056675</c:v>
                </c:pt>
              </c:numCache>
            </c:numRef>
          </c:val>
          <c:extLst>
            <c:ext xmlns:c16="http://schemas.microsoft.com/office/drawing/2014/chart" uri="{C3380CC4-5D6E-409C-BE32-E72D297353CC}">
              <c16:uniqueId val="{00000009-1705-4D98-821C-DF4228212AF2}"/>
            </c:ext>
          </c:extLst>
        </c:ser>
        <c:dLbls>
          <c:showLegendKey val="0"/>
          <c:showVal val="0"/>
          <c:showCatName val="0"/>
          <c:showSerName val="0"/>
          <c:showPercent val="0"/>
          <c:showBubbleSize val="0"/>
        </c:dLbls>
        <c:gapWidth val="50"/>
        <c:overlap val="100"/>
        <c:axId val="574488888"/>
        <c:axId val="574489280"/>
      </c:barChart>
      <c:catAx>
        <c:axId val="574488888"/>
        <c:scaling>
          <c:orientation val="minMax"/>
        </c:scaling>
        <c:delete val="0"/>
        <c:axPos val="l"/>
        <c:numFmt formatCode="General" sourceLinked="0"/>
        <c:majorTickMark val="out"/>
        <c:minorTickMark val="none"/>
        <c:tickLblPos val="nextTo"/>
        <c:txPr>
          <a:bodyPr/>
          <a:lstStyle/>
          <a:p>
            <a:pPr>
              <a:defRPr sz="1050"/>
            </a:pPr>
            <a:endParaRPr lang="en-US"/>
          </a:p>
        </c:txPr>
        <c:crossAx val="574489280"/>
        <c:crosses val="autoZero"/>
        <c:auto val="1"/>
        <c:lblAlgn val="ctr"/>
        <c:lblOffset val="100"/>
        <c:noMultiLvlLbl val="0"/>
      </c:catAx>
      <c:valAx>
        <c:axId val="574489280"/>
        <c:scaling>
          <c:orientation val="minMax"/>
          <c:max val="1"/>
        </c:scaling>
        <c:delete val="1"/>
        <c:axPos val="b"/>
        <c:numFmt formatCode="0%" sourceLinked="1"/>
        <c:majorTickMark val="out"/>
        <c:minorTickMark val="none"/>
        <c:tickLblPos val="nextTo"/>
        <c:crossAx val="57448888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Column1</c:v>
                </c:pt>
              </c:strCache>
            </c:strRef>
          </c:tx>
          <c:spPr>
            <a:noFill/>
          </c:spPr>
          <c:invertIfNegative val="0"/>
          <c:cat>
            <c:strRef>
              <c:f>Sheet1!$A$2:$A$8</c:f>
              <c:strCache>
                <c:ptCount val="7"/>
                <c:pt idx="0">
                  <c:v>Share of market</c:v>
                </c:pt>
                <c:pt idx="1">
                  <c:v>Current customer</c:v>
                </c:pt>
                <c:pt idx="2">
                  <c:v>Recommendation</c:v>
                </c:pt>
                <c:pt idx="3">
                  <c:v>Consideration</c:v>
                </c:pt>
                <c:pt idx="4">
                  <c:v>Impact on cause</c:v>
                </c:pt>
                <c:pt idx="5">
                  <c:v>Awareness</c:v>
                </c:pt>
                <c:pt idx="6">
                  <c:v>Ad Awareness</c:v>
                </c:pt>
              </c:strCache>
            </c:strRef>
          </c:cat>
          <c:val>
            <c:numRef>
              <c:f>Sheet1!$B$2:$B$8</c:f>
              <c:numCache>
                <c:formatCode>General</c:formatCode>
                <c:ptCount val="7"/>
                <c:pt idx="0">
                  <c:v>0.46699999999999997</c:v>
                </c:pt>
                <c:pt idx="1">
                  <c:v>0.48021264072585801</c:v>
                </c:pt>
                <c:pt idx="2">
                  <c:v>0.38121812221803053</c:v>
                </c:pt>
                <c:pt idx="3">
                  <c:v>0.38121246025688149</c:v>
                </c:pt>
                <c:pt idx="4">
                  <c:v>0.32676370724829651</c:v>
                </c:pt>
                <c:pt idx="5">
                  <c:v>6.4530076376452528E-2</c:v>
                </c:pt>
                <c:pt idx="6">
                  <c:v>0.4547510807122801</c:v>
                </c:pt>
              </c:numCache>
            </c:numRef>
          </c:val>
          <c:extLst>
            <c:ext xmlns:c16="http://schemas.microsoft.com/office/drawing/2014/chart" uri="{C3380CC4-5D6E-409C-BE32-E72D297353CC}">
              <c16:uniqueId val="{00000000-7BA2-4E62-946C-B48A6AE81482}"/>
            </c:ext>
          </c:extLst>
        </c:ser>
        <c:ser>
          <c:idx val="1"/>
          <c:order val="1"/>
          <c:tx>
            <c:strRef>
              <c:f>Sheet1!$C$1</c:f>
              <c:strCache>
                <c:ptCount val="1"/>
                <c:pt idx="0">
                  <c:v>Measure</c:v>
                </c:pt>
              </c:strCache>
            </c:strRef>
          </c:tx>
          <c:spPr>
            <a:solidFill>
              <a:schemeClr val="accent4"/>
            </a:solidFill>
          </c:spPr>
          <c:invertIfNegative val="0"/>
          <c:dLbls>
            <c:dLbl>
              <c:idx val="0"/>
              <c:numFmt formatCode="0.0%" sourceLinked="0"/>
              <c:spPr/>
              <c:txPr>
                <a:bodyPr/>
                <a:lstStyle/>
                <a:p>
                  <a:pPr>
                    <a:defRPr sz="800">
                      <a:solidFill>
                        <a:schemeClr val="tx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BA2-4E62-946C-B48A6AE81482}"/>
                </c:ext>
              </c:extLst>
            </c:dLbl>
            <c:dLbl>
              <c:idx val="1"/>
              <c:numFmt formatCode="0.0%" sourceLinked="0"/>
              <c:spPr/>
              <c:txPr>
                <a:bodyPr/>
                <a:lstStyle/>
                <a:p>
                  <a:pPr algn="ctr" rtl="0">
                    <a:defRPr lang="en-GB" sz="800" b="0" i="0" u="none" strike="noStrike" kern="1200" baseline="0">
                      <a:solidFill>
                        <a:srgbClr val="05234C"/>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7BA2-4E62-946C-B48A6AE81482}"/>
                </c:ext>
              </c:extLst>
            </c:dLbl>
            <c:dLbl>
              <c:idx val="5"/>
              <c:numFmt formatCode="0.0%" sourceLinked="0"/>
              <c:spPr/>
              <c:txPr>
                <a:bodyPr/>
                <a:lstStyle/>
                <a:p>
                  <a:pPr algn="ctr" rtl="0">
                    <a:defRPr lang="en-GB"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BA2-4E62-946C-B48A6AE81482}"/>
                </c:ext>
              </c:extLst>
            </c:dLbl>
            <c:dLbl>
              <c:idx val="6"/>
              <c:numFmt formatCode="0.0%" sourceLinked="0"/>
              <c:spPr/>
              <c:txPr>
                <a:bodyPr/>
                <a:lstStyle/>
                <a:p>
                  <a:pPr algn="ctr" rtl="0">
                    <a:defRPr lang="en-GB" sz="800" b="0" i="0" u="none" strike="noStrike" kern="1200" baseline="0">
                      <a:solidFill>
                        <a:srgbClr val="05234C"/>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7BA2-4E62-946C-B48A6AE81482}"/>
                </c:ext>
              </c:extLst>
            </c:dLbl>
            <c:dLbl>
              <c:idx val="7"/>
              <c:numFmt formatCode="0.0%" sourceLinked="0"/>
              <c:spPr/>
              <c:txPr>
                <a:bodyPr/>
                <a:lstStyle/>
                <a:p>
                  <a:pPr>
                    <a:defRPr sz="800">
                      <a:solidFill>
                        <a:schemeClr val="tx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7BA2-4E62-946C-B48A6AE81482}"/>
                </c:ext>
              </c:extLst>
            </c:dLbl>
            <c:numFmt formatCode="0.0%" sourceLinked="0"/>
            <c:spPr>
              <a:noFill/>
              <a:ln>
                <a:noFill/>
              </a:ln>
              <a:effectLst/>
            </c:spPr>
            <c:txPr>
              <a:bodyPr/>
              <a:lstStyle/>
              <a:p>
                <a:pPr>
                  <a:defRPr sz="8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hare of market</c:v>
                </c:pt>
                <c:pt idx="1">
                  <c:v>Current customer</c:v>
                </c:pt>
                <c:pt idx="2">
                  <c:v>Recommendation</c:v>
                </c:pt>
                <c:pt idx="3">
                  <c:v>Consideration</c:v>
                </c:pt>
                <c:pt idx="4">
                  <c:v>Impact on cause</c:v>
                </c:pt>
                <c:pt idx="5">
                  <c:v>Awareness</c:v>
                </c:pt>
                <c:pt idx="6">
                  <c:v>Ad Awareness</c:v>
                </c:pt>
              </c:strCache>
            </c:strRef>
          </c:cat>
          <c:val>
            <c:numRef>
              <c:f>Sheet1!$C$2:$C$8</c:f>
              <c:numCache>
                <c:formatCode>0.00%</c:formatCode>
                <c:ptCount val="7"/>
                <c:pt idx="0">
                  <c:v>6.6000000000000003E-2</c:v>
                </c:pt>
                <c:pt idx="1">
                  <c:v>3.9574718548284003E-2</c:v>
                </c:pt>
                <c:pt idx="2">
                  <c:v>0.23756375556393899</c:v>
                </c:pt>
                <c:pt idx="3">
                  <c:v>0.23757507948623699</c:v>
                </c:pt>
                <c:pt idx="4">
                  <c:v>0.34647258550340698</c:v>
                </c:pt>
                <c:pt idx="5">
                  <c:v>0.87093984724709494</c:v>
                </c:pt>
                <c:pt idx="6">
                  <c:v>9.0497838575439804E-2</c:v>
                </c:pt>
              </c:numCache>
            </c:numRef>
          </c:val>
          <c:extLst>
            <c:ext xmlns:c16="http://schemas.microsoft.com/office/drawing/2014/chart" uri="{C3380CC4-5D6E-409C-BE32-E72D297353CC}">
              <c16:uniqueId val="{00000006-7BA2-4E62-946C-B48A6AE81482}"/>
            </c:ext>
          </c:extLst>
        </c:ser>
        <c:ser>
          <c:idx val="2"/>
          <c:order val="2"/>
          <c:tx>
            <c:strRef>
              <c:f>Sheet1!$D$1</c:f>
              <c:strCache>
                <c:ptCount val="1"/>
                <c:pt idx="0">
                  <c:v>Column2</c:v>
                </c:pt>
              </c:strCache>
            </c:strRef>
          </c:tx>
          <c:spPr>
            <a:noFill/>
          </c:spPr>
          <c:invertIfNegative val="0"/>
          <c:cat>
            <c:strRef>
              <c:f>Sheet1!$A$2:$A$8</c:f>
              <c:strCache>
                <c:ptCount val="7"/>
                <c:pt idx="0">
                  <c:v>Share of market</c:v>
                </c:pt>
                <c:pt idx="1">
                  <c:v>Current customer</c:v>
                </c:pt>
                <c:pt idx="2">
                  <c:v>Recommendation</c:v>
                </c:pt>
                <c:pt idx="3">
                  <c:v>Consideration</c:v>
                </c:pt>
                <c:pt idx="4">
                  <c:v>Impact on cause</c:v>
                </c:pt>
                <c:pt idx="5">
                  <c:v>Awareness</c:v>
                </c:pt>
                <c:pt idx="6">
                  <c:v>Ad Awareness</c:v>
                </c:pt>
              </c:strCache>
            </c:strRef>
          </c:cat>
          <c:val>
            <c:numRef>
              <c:f>Sheet1!$D$2:$D$8</c:f>
              <c:numCache>
                <c:formatCode>General</c:formatCode>
                <c:ptCount val="7"/>
                <c:pt idx="0">
                  <c:v>0.46699999999999997</c:v>
                </c:pt>
                <c:pt idx="1">
                  <c:v>0.48021264072585801</c:v>
                </c:pt>
                <c:pt idx="2">
                  <c:v>0.38121812221803053</c:v>
                </c:pt>
                <c:pt idx="3">
                  <c:v>0.38121246025688149</c:v>
                </c:pt>
                <c:pt idx="4">
                  <c:v>0.32676370724829651</c:v>
                </c:pt>
                <c:pt idx="5">
                  <c:v>6.4530076376452528E-2</c:v>
                </c:pt>
                <c:pt idx="6">
                  <c:v>0.4547510807122801</c:v>
                </c:pt>
              </c:numCache>
            </c:numRef>
          </c:val>
          <c:extLst>
            <c:ext xmlns:c16="http://schemas.microsoft.com/office/drawing/2014/chart" uri="{C3380CC4-5D6E-409C-BE32-E72D297353CC}">
              <c16:uniqueId val="{00000007-7BA2-4E62-946C-B48A6AE81482}"/>
            </c:ext>
          </c:extLst>
        </c:ser>
        <c:dLbls>
          <c:showLegendKey val="0"/>
          <c:showVal val="0"/>
          <c:showCatName val="0"/>
          <c:showSerName val="0"/>
          <c:showPercent val="0"/>
          <c:showBubbleSize val="0"/>
        </c:dLbls>
        <c:gapWidth val="50"/>
        <c:overlap val="100"/>
        <c:axId val="574488104"/>
        <c:axId val="574487712"/>
      </c:barChart>
      <c:catAx>
        <c:axId val="574488104"/>
        <c:scaling>
          <c:orientation val="minMax"/>
        </c:scaling>
        <c:delete val="1"/>
        <c:axPos val="l"/>
        <c:numFmt formatCode="General" sourceLinked="0"/>
        <c:majorTickMark val="out"/>
        <c:minorTickMark val="none"/>
        <c:tickLblPos val="nextTo"/>
        <c:crossAx val="574487712"/>
        <c:crosses val="autoZero"/>
        <c:auto val="1"/>
        <c:lblAlgn val="ctr"/>
        <c:lblOffset val="100"/>
        <c:noMultiLvlLbl val="0"/>
      </c:catAx>
      <c:valAx>
        <c:axId val="574487712"/>
        <c:scaling>
          <c:orientation val="minMax"/>
          <c:max val="1"/>
        </c:scaling>
        <c:delete val="1"/>
        <c:axPos val="b"/>
        <c:numFmt formatCode="0%" sourceLinked="1"/>
        <c:majorTickMark val="out"/>
        <c:minorTickMark val="none"/>
        <c:tickLblPos val="nextTo"/>
        <c:crossAx val="57448810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Column1</c:v>
                </c:pt>
              </c:strCache>
            </c:strRef>
          </c:tx>
          <c:spPr>
            <a:noFill/>
          </c:spPr>
          <c:invertIfNegative val="0"/>
          <c:cat>
            <c:strRef>
              <c:f>Sheet1!$A$2:$A$8</c:f>
              <c:strCache>
                <c:ptCount val="7"/>
                <c:pt idx="0">
                  <c:v>Share of market</c:v>
                </c:pt>
                <c:pt idx="1">
                  <c:v>Current customer</c:v>
                </c:pt>
                <c:pt idx="2">
                  <c:v>Recommendation</c:v>
                </c:pt>
                <c:pt idx="3">
                  <c:v>Consideration</c:v>
                </c:pt>
                <c:pt idx="4">
                  <c:v>Impact on cause</c:v>
                </c:pt>
                <c:pt idx="5">
                  <c:v>Awareness</c:v>
                </c:pt>
                <c:pt idx="6">
                  <c:v>Ad Awareness</c:v>
                </c:pt>
              </c:strCache>
            </c:strRef>
          </c:cat>
          <c:val>
            <c:numRef>
              <c:f>Sheet1!$B$2:$B$8</c:f>
              <c:numCache>
                <c:formatCode>General</c:formatCode>
                <c:ptCount val="7"/>
                <c:pt idx="0">
                  <c:v>0.46550000000000002</c:v>
                </c:pt>
                <c:pt idx="1">
                  <c:v>0.47978608402464029</c:v>
                </c:pt>
                <c:pt idx="2">
                  <c:v>0.3782214950010615</c:v>
                </c:pt>
                <c:pt idx="3">
                  <c:v>0.38581754764244203</c:v>
                </c:pt>
                <c:pt idx="4">
                  <c:v>0.31991073880040449</c:v>
                </c:pt>
                <c:pt idx="5">
                  <c:v>6.60502874755865E-2</c:v>
                </c:pt>
                <c:pt idx="6">
                  <c:v>0.45383412008063845</c:v>
                </c:pt>
              </c:numCache>
            </c:numRef>
          </c:val>
          <c:extLst>
            <c:ext xmlns:c16="http://schemas.microsoft.com/office/drawing/2014/chart" uri="{C3380CC4-5D6E-409C-BE32-E72D297353CC}">
              <c16:uniqueId val="{00000000-433E-48F4-8A73-472CA7D0384E}"/>
            </c:ext>
          </c:extLst>
        </c:ser>
        <c:ser>
          <c:idx val="1"/>
          <c:order val="1"/>
          <c:tx>
            <c:strRef>
              <c:f>Sheet1!$C$1</c:f>
              <c:strCache>
                <c:ptCount val="1"/>
                <c:pt idx="0">
                  <c:v>Measure</c:v>
                </c:pt>
              </c:strCache>
            </c:strRef>
          </c:tx>
          <c:spPr>
            <a:solidFill>
              <a:schemeClr val="accent4"/>
            </a:solidFill>
          </c:spPr>
          <c:invertIfNegative val="0"/>
          <c:dLbls>
            <c:dLbl>
              <c:idx val="0"/>
              <c:numFmt formatCode="0.0%" sourceLinked="0"/>
              <c:spPr/>
              <c:txPr>
                <a:bodyPr/>
                <a:lstStyle/>
                <a:p>
                  <a:pPr>
                    <a:defRPr sz="800">
                      <a:solidFill>
                        <a:schemeClr val="tx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433E-48F4-8A73-472CA7D0384E}"/>
                </c:ext>
              </c:extLst>
            </c:dLbl>
            <c:dLbl>
              <c:idx val="1"/>
              <c:numFmt formatCode="0.0%" sourceLinked="0"/>
              <c:spPr/>
              <c:txPr>
                <a:bodyPr/>
                <a:lstStyle/>
                <a:p>
                  <a:pPr algn="ctr" rtl="0">
                    <a:defRPr lang="en-GB" sz="800" b="0" i="0" u="none" strike="noStrike" kern="1200" baseline="0">
                      <a:solidFill>
                        <a:srgbClr val="05234C"/>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433E-48F4-8A73-472CA7D0384E}"/>
                </c:ext>
              </c:extLst>
            </c:dLbl>
            <c:dLbl>
              <c:idx val="5"/>
              <c:numFmt formatCode="0.0%" sourceLinked="0"/>
              <c:spPr/>
              <c:txPr>
                <a:bodyPr/>
                <a:lstStyle/>
                <a:p>
                  <a:pPr algn="ctr" rtl="0">
                    <a:defRPr lang="en-GB"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433E-48F4-8A73-472CA7D0384E}"/>
                </c:ext>
              </c:extLst>
            </c:dLbl>
            <c:dLbl>
              <c:idx val="6"/>
              <c:numFmt formatCode="0.0%" sourceLinked="0"/>
              <c:spPr/>
              <c:txPr>
                <a:bodyPr/>
                <a:lstStyle/>
                <a:p>
                  <a:pPr algn="ctr" rtl="0">
                    <a:defRPr lang="en-GB" sz="800" b="0" i="0" u="none" strike="noStrike" kern="1200" baseline="0">
                      <a:solidFill>
                        <a:srgbClr val="05234C"/>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433E-48F4-8A73-472CA7D0384E}"/>
                </c:ext>
              </c:extLst>
            </c:dLbl>
            <c:dLbl>
              <c:idx val="7"/>
              <c:numFmt formatCode="0.0%" sourceLinked="0"/>
              <c:spPr/>
              <c:txPr>
                <a:bodyPr/>
                <a:lstStyle/>
                <a:p>
                  <a:pPr>
                    <a:defRPr sz="800">
                      <a:solidFill>
                        <a:schemeClr val="tx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433E-48F4-8A73-472CA7D0384E}"/>
                </c:ext>
              </c:extLst>
            </c:dLbl>
            <c:numFmt formatCode="0.0%" sourceLinked="0"/>
            <c:spPr>
              <a:noFill/>
              <a:ln>
                <a:noFill/>
              </a:ln>
              <a:effectLst/>
            </c:spPr>
            <c:txPr>
              <a:bodyPr/>
              <a:lstStyle/>
              <a:p>
                <a:pPr>
                  <a:defRPr sz="8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hare of market</c:v>
                </c:pt>
                <c:pt idx="1">
                  <c:v>Current customer</c:v>
                </c:pt>
                <c:pt idx="2">
                  <c:v>Recommendation</c:v>
                </c:pt>
                <c:pt idx="3">
                  <c:v>Consideration</c:v>
                </c:pt>
                <c:pt idx="4">
                  <c:v>Impact on cause</c:v>
                </c:pt>
                <c:pt idx="5">
                  <c:v>Awareness</c:v>
                </c:pt>
                <c:pt idx="6">
                  <c:v>Ad Awareness</c:v>
                </c:pt>
              </c:strCache>
            </c:strRef>
          </c:cat>
          <c:val>
            <c:numRef>
              <c:f>Sheet1!$C$2:$C$8</c:f>
              <c:numCache>
                <c:formatCode>0.00%</c:formatCode>
                <c:ptCount val="7"/>
                <c:pt idx="0">
                  <c:v>6.9000000000000006E-2</c:v>
                </c:pt>
                <c:pt idx="1">
                  <c:v>4.0427831950719403E-2</c:v>
                </c:pt>
                <c:pt idx="2">
                  <c:v>0.24355700999787699</c:v>
                </c:pt>
                <c:pt idx="3">
                  <c:v>0.228364904715116</c:v>
                </c:pt>
                <c:pt idx="4">
                  <c:v>0.36017852239919101</c:v>
                </c:pt>
                <c:pt idx="5">
                  <c:v>0.867899425048827</c:v>
                </c:pt>
                <c:pt idx="6">
                  <c:v>9.2331759838723104E-2</c:v>
                </c:pt>
              </c:numCache>
            </c:numRef>
          </c:val>
          <c:extLst>
            <c:ext xmlns:c16="http://schemas.microsoft.com/office/drawing/2014/chart" uri="{C3380CC4-5D6E-409C-BE32-E72D297353CC}">
              <c16:uniqueId val="{00000006-433E-48F4-8A73-472CA7D0384E}"/>
            </c:ext>
          </c:extLst>
        </c:ser>
        <c:ser>
          <c:idx val="2"/>
          <c:order val="2"/>
          <c:tx>
            <c:strRef>
              <c:f>Sheet1!$D$1</c:f>
              <c:strCache>
                <c:ptCount val="1"/>
                <c:pt idx="0">
                  <c:v>Column2</c:v>
                </c:pt>
              </c:strCache>
            </c:strRef>
          </c:tx>
          <c:spPr>
            <a:noFill/>
          </c:spPr>
          <c:invertIfNegative val="0"/>
          <c:cat>
            <c:strRef>
              <c:f>Sheet1!$A$2:$A$8</c:f>
              <c:strCache>
                <c:ptCount val="7"/>
                <c:pt idx="0">
                  <c:v>Share of market</c:v>
                </c:pt>
                <c:pt idx="1">
                  <c:v>Current customer</c:v>
                </c:pt>
                <c:pt idx="2">
                  <c:v>Recommendation</c:v>
                </c:pt>
                <c:pt idx="3">
                  <c:v>Consideration</c:v>
                </c:pt>
                <c:pt idx="4">
                  <c:v>Impact on cause</c:v>
                </c:pt>
                <c:pt idx="5">
                  <c:v>Awareness</c:v>
                </c:pt>
                <c:pt idx="6">
                  <c:v>Ad Awareness</c:v>
                </c:pt>
              </c:strCache>
            </c:strRef>
          </c:cat>
          <c:val>
            <c:numRef>
              <c:f>Sheet1!$D$2:$D$8</c:f>
              <c:numCache>
                <c:formatCode>General</c:formatCode>
                <c:ptCount val="7"/>
                <c:pt idx="0">
                  <c:v>0.46550000000000002</c:v>
                </c:pt>
                <c:pt idx="1">
                  <c:v>0.47978608402464029</c:v>
                </c:pt>
                <c:pt idx="2">
                  <c:v>0.3782214950010615</c:v>
                </c:pt>
                <c:pt idx="3">
                  <c:v>0.38581754764244203</c:v>
                </c:pt>
                <c:pt idx="4">
                  <c:v>0.31991073880040449</c:v>
                </c:pt>
                <c:pt idx="5">
                  <c:v>6.60502874755865E-2</c:v>
                </c:pt>
                <c:pt idx="6">
                  <c:v>0.45383412008063845</c:v>
                </c:pt>
              </c:numCache>
            </c:numRef>
          </c:val>
          <c:extLst>
            <c:ext xmlns:c16="http://schemas.microsoft.com/office/drawing/2014/chart" uri="{C3380CC4-5D6E-409C-BE32-E72D297353CC}">
              <c16:uniqueId val="{00000007-433E-48F4-8A73-472CA7D0384E}"/>
            </c:ext>
          </c:extLst>
        </c:ser>
        <c:dLbls>
          <c:showLegendKey val="0"/>
          <c:showVal val="0"/>
          <c:showCatName val="0"/>
          <c:showSerName val="0"/>
          <c:showPercent val="0"/>
          <c:showBubbleSize val="0"/>
        </c:dLbls>
        <c:gapWidth val="50"/>
        <c:overlap val="100"/>
        <c:axId val="380611256"/>
        <c:axId val="380612824"/>
      </c:barChart>
      <c:catAx>
        <c:axId val="380611256"/>
        <c:scaling>
          <c:orientation val="minMax"/>
        </c:scaling>
        <c:delete val="1"/>
        <c:axPos val="l"/>
        <c:numFmt formatCode="General" sourceLinked="0"/>
        <c:majorTickMark val="out"/>
        <c:minorTickMark val="none"/>
        <c:tickLblPos val="nextTo"/>
        <c:crossAx val="380612824"/>
        <c:crosses val="autoZero"/>
        <c:auto val="1"/>
        <c:lblAlgn val="ctr"/>
        <c:lblOffset val="100"/>
        <c:noMultiLvlLbl val="0"/>
      </c:catAx>
      <c:valAx>
        <c:axId val="380612824"/>
        <c:scaling>
          <c:orientation val="minMax"/>
          <c:max val="1"/>
        </c:scaling>
        <c:delete val="1"/>
        <c:axPos val="b"/>
        <c:numFmt formatCode="0%" sourceLinked="1"/>
        <c:majorTickMark val="out"/>
        <c:minorTickMark val="none"/>
        <c:tickLblPos val="nextTo"/>
        <c:crossAx val="380611256"/>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1F6200-19CA-4E41-86FB-235A68C0F3D7}" type="doc">
      <dgm:prSet loTypeId="urn:microsoft.com/office/officeart/2017/3/layout/HorizontalPathTimeline" loCatId="process" qsTypeId="urn:microsoft.com/office/officeart/2005/8/quickstyle/simple1" qsCatId="simple" csTypeId="urn:microsoft.com/office/officeart/2005/8/colors/accent1_2" csCatId="accent1" phldr="1"/>
      <dgm:spPr/>
      <dgm:t>
        <a:bodyPr/>
        <a:lstStyle/>
        <a:p>
          <a:endParaRPr lang="en-US"/>
        </a:p>
      </dgm:t>
    </dgm:pt>
    <dgm:pt modelId="{9D839EFC-9A20-4FCC-8988-208CC78D7FB6}">
      <dgm:prSet/>
      <dgm:spPr/>
      <dgm:t>
        <a:bodyPr/>
        <a:lstStyle/>
        <a:p>
          <a:pPr>
            <a:defRPr b="1"/>
          </a:pPr>
          <a:r>
            <a:rPr lang="en-US" dirty="0"/>
            <a:t>Week 3</a:t>
          </a:r>
        </a:p>
      </dgm:t>
    </dgm:pt>
    <dgm:pt modelId="{2517EF25-46F5-4BBB-8F78-5B776E4C9D07}" type="parTrans" cxnId="{39F116ED-F0DB-4D5C-842E-E348CA11F7DF}">
      <dgm:prSet/>
      <dgm:spPr/>
      <dgm:t>
        <a:bodyPr/>
        <a:lstStyle/>
        <a:p>
          <a:endParaRPr lang="en-US"/>
        </a:p>
      </dgm:t>
    </dgm:pt>
    <dgm:pt modelId="{8A38CCB8-50F8-4370-AA39-9EB7CEB46907}" type="sibTrans" cxnId="{39F116ED-F0DB-4D5C-842E-E348CA11F7DF}">
      <dgm:prSet/>
      <dgm:spPr/>
      <dgm:t>
        <a:bodyPr/>
        <a:lstStyle/>
        <a:p>
          <a:endParaRPr lang="en-US"/>
        </a:p>
      </dgm:t>
    </dgm:pt>
    <dgm:pt modelId="{643F65AC-92A0-43D9-A5CE-242DF6797656}">
      <dgm:prSet/>
      <dgm:spPr/>
      <dgm:t>
        <a:bodyPr/>
        <a:lstStyle/>
        <a:p>
          <a:r>
            <a:rPr lang="en-US" dirty="0"/>
            <a:t>Dynamic Funnels</a:t>
          </a:r>
        </a:p>
      </dgm:t>
    </dgm:pt>
    <dgm:pt modelId="{8D789F60-64E2-4518-8C8D-08A575202CC3}" type="parTrans" cxnId="{12F77B52-48C8-4128-B699-17D524EBF4E8}">
      <dgm:prSet/>
      <dgm:spPr/>
      <dgm:t>
        <a:bodyPr/>
        <a:lstStyle/>
        <a:p>
          <a:endParaRPr lang="en-US"/>
        </a:p>
      </dgm:t>
    </dgm:pt>
    <dgm:pt modelId="{E5D0A19D-FE3F-4654-A390-D64063CCCC97}" type="sibTrans" cxnId="{12F77B52-48C8-4128-B699-17D524EBF4E8}">
      <dgm:prSet/>
      <dgm:spPr/>
      <dgm:t>
        <a:bodyPr/>
        <a:lstStyle/>
        <a:p>
          <a:endParaRPr lang="en-US"/>
        </a:p>
      </dgm:t>
    </dgm:pt>
    <dgm:pt modelId="{9EB0BA35-87AE-4C13-9444-B60B6C945EF7}">
      <dgm:prSet/>
      <dgm:spPr/>
      <dgm:t>
        <a:bodyPr/>
        <a:lstStyle/>
        <a:p>
          <a:pPr>
            <a:defRPr b="1"/>
          </a:pPr>
          <a:r>
            <a:rPr lang="en-US" dirty="0"/>
            <a:t>Week 4</a:t>
          </a:r>
        </a:p>
      </dgm:t>
    </dgm:pt>
    <dgm:pt modelId="{8ED06653-B1ED-4A36-89CB-55AA4C7D0C44}" type="parTrans" cxnId="{CF275BB4-9624-4F9B-8D99-45FCAAA52F3A}">
      <dgm:prSet/>
      <dgm:spPr/>
      <dgm:t>
        <a:bodyPr/>
        <a:lstStyle/>
        <a:p>
          <a:endParaRPr lang="en-US"/>
        </a:p>
      </dgm:t>
    </dgm:pt>
    <dgm:pt modelId="{79AB72BE-2A17-4FE0-9AC7-699AD4A225D0}" type="sibTrans" cxnId="{CF275BB4-9624-4F9B-8D99-45FCAAA52F3A}">
      <dgm:prSet/>
      <dgm:spPr/>
      <dgm:t>
        <a:bodyPr/>
        <a:lstStyle/>
        <a:p>
          <a:endParaRPr lang="en-US"/>
        </a:p>
      </dgm:t>
    </dgm:pt>
    <dgm:pt modelId="{D08E745C-3E7F-4932-8E43-877ED1F96E55}">
      <dgm:prSet/>
      <dgm:spPr/>
      <dgm:t>
        <a:bodyPr/>
        <a:lstStyle/>
        <a:p>
          <a:r>
            <a:rPr lang="en-US" dirty="0"/>
            <a:t>Implications &amp; Debrief</a:t>
          </a:r>
        </a:p>
      </dgm:t>
    </dgm:pt>
    <dgm:pt modelId="{460C6355-0E94-4142-BF25-1C39D9896F69}" type="parTrans" cxnId="{35071879-D14A-4E9D-875E-4534CD9DA6F6}">
      <dgm:prSet/>
      <dgm:spPr/>
      <dgm:t>
        <a:bodyPr/>
        <a:lstStyle/>
        <a:p>
          <a:endParaRPr lang="en-US"/>
        </a:p>
      </dgm:t>
    </dgm:pt>
    <dgm:pt modelId="{C52B675D-9322-4534-ACAE-E5FD345BBA80}" type="sibTrans" cxnId="{35071879-D14A-4E9D-875E-4534CD9DA6F6}">
      <dgm:prSet/>
      <dgm:spPr/>
      <dgm:t>
        <a:bodyPr/>
        <a:lstStyle/>
        <a:p>
          <a:endParaRPr lang="en-US"/>
        </a:p>
      </dgm:t>
    </dgm:pt>
    <dgm:pt modelId="{F76F88FE-4DA6-468A-B4EF-3835C974DF81}">
      <dgm:prSet/>
      <dgm:spPr/>
      <dgm:t>
        <a:bodyPr/>
        <a:lstStyle/>
        <a:p>
          <a:pPr>
            <a:defRPr b="1"/>
          </a:pPr>
          <a:r>
            <a:rPr lang="en-US" dirty="0"/>
            <a:t>Week 5</a:t>
          </a:r>
        </a:p>
      </dgm:t>
    </dgm:pt>
    <dgm:pt modelId="{1AE78E13-97DF-424E-B3D8-C45BEF043C5C}" type="parTrans" cxnId="{65FCA86E-43F7-4232-9DA8-7A5523CDE5EF}">
      <dgm:prSet/>
      <dgm:spPr/>
      <dgm:t>
        <a:bodyPr/>
        <a:lstStyle/>
        <a:p>
          <a:endParaRPr lang="en-US"/>
        </a:p>
      </dgm:t>
    </dgm:pt>
    <dgm:pt modelId="{0FBB94EA-3712-4874-A9C1-200C126D4333}" type="sibTrans" cxnId="{65FCA86E-43F7-4232-9DA8-7A5523CDE5EF}">
      <dgm:prSet/>
      <dgm:spPr/>
      <dgm:t>
        <a:bodyPr/>
        <a:lstStyle/>
        <a:p>
          <a:endParaRPr lang="en-US"/>
        </a:p>
      </dgm:t>
    </dgm:pt>
    <dgm:pt modelId="{52C235DF-B178-455A-8B31-FF60E06C5B1D}">
      <dgm:prSet/>
      <dgm:spPr/>
      <dgm:t>
        <a:bodyPr/>
        <a:lstStyle/>
        <a:p>
          <a:r>
            <a:rPr lang="en-US" dirty="0"/>
            <a:t>Dynamic Funnel scenario tool</a:t>
          </a:r>
        </a:p>
      </dgm:t>
    </dgm:pt>
    <dgm:pt modelId="{6D17CE1B-7EB4-42A5-984A-7965EE78A61F}" type="parTrans" cxnId="{A67ADF6E-3FC2-429F-832C-7B94F358235A}">
      <dgm:prSet/>
      <dgm:spPr/>
      <dgm:t>
        <a:bodyPr/>
        <a:lstStyle/>
        <a:p>
          <a:endParaRPr lang="en-US"/>
        </a:p>
      </dgm:t>
    </dgm:pt>
    <dgm:pt modelId="{6250C9A2-599A-4E39-9329-2040505EA118}" type="sibTrans" cxnId="{A67ADF6E-3FC2-429F-832C-7B94F358235A}">
      <dgm:prSet/>
      <dgm:spPr/>
      <dgm:t>
        <a:bodyPr/>
        <a:lstStyle/>
        <a:p>
          <a:endParaRPr lang="en-US"/>
        </a:p>
      </dgm:t>
    </dgm:pt>
    <dgm:pt modelId="{C53503D7-6771-4A92-B3B0-6AE6C88E4986}">
      <dgm:prSet/>
      <dgm:spPr/>
      <dgm:t>
        <a:bodyPr/>
        <a:lstStyle/>
        <a:p>
          <a:pPr>
            <a:defRPr b="1"/>
          </a:pPr>
          <a:r>
            <a:rPr lang="en-US" dirty="0"/>
            <a:t>Week 2</a:t>
          </a:r>
        </a:p>
      </dgm:t>
    </dgm:pt>
    <dgm:pt modelId="{3C4F4C56-DE54-4F0C-9514-C31469D5B1DB}" type="parTrans" cxnId="{A99AF4E2-478C-4000-AB0E-8F321272E773}">
      <dgm:prSet/>
      <dgm:spPr/>
      <dgm:t>
        <a:bodyPr/>
        <a:lstStyle/>
        <a:p>
          <a:endParaRPr lang="en-GB"/>
        </a:p>
      </dgm:t>
    </dgm:pt>
    <dgm:pt modelId="{368C77CA-B511-4E5F-B146-128B31B27C59}" type="sibTrans" cxnId="{A99AF4E2-478C-4000-AB0E-8F321272E773}">
      <dgm:prSet/>
      <dgm:spPr/>
      <dgm:t>
        <a:bodyPr/>
        <a:lstStyle/>
        <a:p>
          <a:endParaRPr lang="en-GB"/>
        </a:p>
      </dgm:t>
    </dgm:pt>
    <dgm:pt modelId="{0811B3D0-96EC-49A2-8E6A-4C3A069957FA}">
      <dgm:prSet/>
      <dgm:spPr/>
      <dgm:t>
        <a:bodyPr/>
        <a:lstStyle/>
        <a:p>
          <a:r>
            <a:rPr lang="en-US" dirty="0"/>
            <a:t>Static Funnels &amp; Feasibility of Dynamic funnels</a:t>
          </a:r>
        </a:p>
      </dgm:t>
    </dgm:pt>
    <dgm:pt modelId="{279E8CDD-F6E5-443A-917F-6DF17E3399AA}" type="parTrans" cxnId="{F3079B7B-FD9C-45BF-BFEB-4544624D749B}">
      <dgm:prSet/>
      <dgm:spPr/>
      <dgm:t>
        <a:bodyPr/>
        <a:lstStyle/>
        <a:p>
          <a:endParaRPr lang="en-GB"/>
        </a:p>
      </dgm:t>
    </dgm:pt>
    <dgm:pt modelId="{4D37B5A5-EA62-4740-8F1C-7D872635C984}" type="sibTrans" cxnId="{F3079B7B-FD9C-45BF-BFEB-4544624D749B}">
      <dgm:prSet/>
      <dgm:spPr/>
      <dgm:t>
        <a:bodyPr/>
        <a:lstStyle/>
        <a:p>
          <a:endParaRPr lang="en-GB"/>
        </a:p>
      </dgm:t>
    </dgm:pt>
    <dgm:pt modelId="{FC17DF3B-4436-439C-A2F0-CC721E9EE3D8}">
      <dgm:prSet/>
      <dgm:spPr/>
      <dgm:t>
        <a:bodyPr/>
        <a:lstStyle/>
        <a:p>
          <a:pPr>
            <a:defRPr b="1"/>
          </a:pPr>
          <a:r>
            <a:rPr lang="en-US" dirty="0"/>
            <a:t>Week 1</a:t>
          </a:r>
        </a:p>
      </dgm:t>
    </dgm:pt>
    <dgm:pt modelId="{235E3395-6454-461D-9117-D8278B2F9984}" type="parTrans" cxnId="{84243819-6B3D-4FFC-870C-5F8BC6E925F7}">
      <dgm:prSet/>
      <dgm:spPr/>
      <dgm:t>
        <a:bodyPr/>
        <a:lstStyle/>
        <a:p>
          <a:endParaRPr lang="en-GB"/>
        </a:p>
      </dgm:t>
    </dgm:pt>
    <dgm:pt modelId="{887ED230-A0EB-4CD9-9530-7F53B6721E1A}" type="sibTrans" cxnId="{84243819-6B3D-4FFC-870C-5F8BC6E925F7}">
      <dgm:prSet/>
      <dgm:spPr/>
      <dgm:t>
        <a:bodyPr/>
        <a:lstStyle/>
        <a:p>
          <a:endParaRPr lang="en-GB"/>
        </a:p>
      </dgm:t>
    </dgm:pt>
    <dgm:pt modelId="{02E5AC00-CE7D-48E9-82C0-3BA31ADC0FC9}">
      <dgm:prSet/>
      <dgm:spPr/>
      <dgm:t>
        <a:bodyPr/>
        <a:lstStyle/>
        <a:p>
          <a:r>
            <a:rPr lang="en-US" dirty="0"/>
            <a:t>Data collection – as soon as media is consolidated/tracking available</a:t>
          </a:r>
        </a:p>
      </dgm:t>
    </dgm:pt>
    <dgm:pt modelId="{94BD62E0-0454-4668-A7C7-66F1F8BE24E2}" type="parTrans" cxnId="{ABCEDC2D-39EF-4F2E-942C-49E902224752}">
      <dgm:prSet/>
      <dgm:spPr/>
      <dgm:t>
        <a:bodyPr/>
        <a:lstStyle/>
        <a:p>
          <a:endParaRPr lang="en-GB"/>
        </a:p>
      </dgm:t>
    </dgm:pt>
    <dgm:pt modelId="{1AF5E2BC-506E-45DF-AE83-3C7A414D27A1}" type="sibTrans" cxnId="{ABCEDC2D-39EF-4F2E-942C-49E902224752}">
      <dgm:prSet/>
      <dgm:spPr/>
      <dgm:t>
        <a:bodyPr/>
        <a:lstStyle/>
        <a:p>
          <a:endParaRPr lang="en-GB"/>
        </a:p>
      </dgm:t>
    </dgm:pt>
    <dgm:pt modelId="{78536336-8A6A-4F69-8290-3883874C44F5}" type="pres">
      <dgm:prSet presAssocID="{FF1F6200-19CA-4E41-86FB-235A68C0F3D7}" presName="root" presStyleCnt="0">
        <dgm:presLayoutVars>
          <dgm:chMax/>
          <dgm:chPref/>
          <dgm:animLvl val="lvl"/>
        </dgm:presLayoutVars>
      </dgm:prSet>
      <dgm:spPr/>
    </dgm:pt>
    <dgm:pt modelId="{884B2401-4217-41CD-B3FE-6311F46E3756}" type="pres">
      <dgm:prSet presAssocID="{FF1F6200-19CA-4E41-86FB-235A68C0F3D7}" presName="divider" presStyleLbl="node1" presStyleIdx="0" presStyleCnt="1"/>
      <dgm:spPr/>
    </dgm:pt>
    <dgm:pt modelId="{E67A6CCB-1197-493C-BF6E-95C0800DED8E}" type="pres">
      <dgm:prSet presAssocID="{FF1F6200-19CA-4E41-86FB-235A68C0F3D7}" presName="nodes" presStyleCnt="0">
        <dgm:presLayoutVars>
          <dgm:chMax/>
          <dgm:chPref/>
          <dgm:animLvl val="lvl"/>
        </dgm:presLayoutVars>
      </dgm:prSet>
      <dgm:spPr/>
    </dgm:pt>
    <dgm:pt modelId="{C1E1CC69-7FD2-4691-8035-AB8BEF0E3352}" type="pres">
      <dgm:prSet presAssocID="{FC17DF3B-4436-439C-A2F0-CC721E9EE3D8}" presName="composite" presStyleCnt="0"/>
      <dgm:spPr/>
    </dgm:pt>
    <dgm:pt modelId="{FFE5C76E-A39B-4AD7-9115-6726C8992692}" type="pres">
      <dgm:prSet presAssocID="{FC17DF3B-4436-439C-A2F0-CC721E9EE3D8}" presName="L1TextContainer" presStyleLbl="revTx" presStyleIdx="0" presStyleCnt="5">
        <dgm:presLayoutVars>
          <dgm:chMax val="1"/>
          <dgm:chPref val="1"/>
          <dgm:bulletEnabled val="1"/>
        </dgm:presLayoutVars>
      </dgm:prSet>
      <dgm:spPr/>
    </dgm:pt>
    <dgm:pt modelId="{3ADE2139-CA1A-4C67-9C9A-3113C031B885}" type="pres">
      <dgm:prSet presAssocID="{FC17DF3B-4436-439C-A2F0-CC721E9EE3D8}" presName="L2TextContainerWrapper" presStyleCnt="0">
        <dgm:presLayoutVars>
          <dgm:chMax val="0"/>
          <dgm:chPref val="0"/>
          <dgm:bulletEnabled val="1"/>
        </dgm:presLayoutVars>
      </dgm:prSet>
      <dgm:spPr/>
    </dgm:pt>
    <dgm:pt modelId="{F663613A-0730-4FD9-A37B-5FC69344C4E0}" type="pres">
      <dgm:prSet presAssocID="{FC17DF3B-4436-439C-A2F0-CC721E9EE3D8}" presName="L2TextContainer" presStyleLbl="bgAccFollowNode1" presStyleIdx="0" presStyleCnt="5"/>
      <dgm:spPr/>
    </dgm:pt>
    <dgm:pt modelId="{7008FE1B-C05E-4EFE-8DD9-75E3FA7F944D}" type="pres">
      <dgm:prSet presAssocID="{FC17DF3B-4436-439C-A2F0-CC721E9EE3D8}" presName="FlexibleEmptyPlaceHolder" presStyleCnt="0"/>
      <dgm:spPr/>
    </dgm:pt>
    <dgm:pt modelId="{1D4582E4-7A3E-4F14-AF71-A7C3280B4624}" type="pres">
      <dgm:prSet presAssocID="{FC17DF3B-4436-439C-A2F0-CC721E9EE3D8}" presName="ConnectLine" presStyleLbl="alignNode1" presStyleIdx="0" presStyleCnt="5"/>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0155EA6A-25F7-4340-A608-05520C1B8FE4}" type="pres">
      <dgm:prSet presAssocID="{FC17DF3B-4436-439C-A2F0-CC721E9EE3D8}" presName="ConnectorPoint" presStyleLbl="fgAcc1" presStyleIdx="0" presStyleCnt="5"/>
      <dgm:spPr>
        <a:solidFill>
          <a:schemeClr val="lt1">
            <a:alpha val="90000"/>
            <a:hueOff val="0"/>
            <a:satOff val="0"/>
            <a:lumOff val="0"/>
            <a:alphaOff val="0"/>
          </a:schemeClr>
        </a:solidFill>
        <a:ln w="12700" cap="flat" cmpd="sng" algn="ctr">
          <a:noFill/>
          <a:prstDash val="solid"/>
          <a:miter lim="800000"/>
        </a:ln>
        <a:effectLst/>
      </dgm:spPr>
    </dgm:pt>
    <dgm:pt modelId="{0695B4B7-0D63-418F-A9A3-8030FBA090D2}" type="pres">
      <dgm:prSet presAssocID="{FC17DF3B-4436-439C-A2F0-CC721E9EE3D8}" presName="EmptyPlaceHolder" presStyleCnt="0"/>
      <dgm:spPr/>
    </dgm:pt>
    <dgm:pt modelId="{1F4232F8-C70C-41E7-B5CB-B5B3539CB94F}" type="pres">
      <dgm:prSet presAssocID="{887ED230-A0EB-4CD9-9530-7F53B6721E1A}" presName="spaceBetweenRectangles" presStyleCnt="0"/>
      <dgm:spPr/>
    </dgm:pt>
    <dgm:pt modelId="{2D8FDB10-B17A-4BED-8033-C7E3B4FEEABC}" type="pres">
      <dgm:prSet presAssocID="{C53503D7-6771-4A92-B3B0-6AE6C88E4986}" presName="composite" presStyleCnt="0"/>
      <dgm:spPr/>
    </dgm:pt>
    <dgm:pt modelId="{C6F24B6E-9F8F-475B-BF02-E63F6D586386}" type="pres">
      <dgm:prSet presAssocID="{C53503D7-6771-4A92-B3B0-6AE6C88E4986}" presName="L1TextContainer" presStyleLbl="revTx" presStyleIdx="1" presStyleCnt="5">
        <dgm:presLayoutVars>
          <dgm:chMax val="1"/>
          <dgm:chPref val="1"/>
          <dgm:bulletEnabled val="1"/>
        </dgm:presLayoutVars>
      </dgm:prSet>
      <dgm:spPr/>
    </dgm:pt>
    <dgm:pt modelId="{6FF08762-9275-493B-98E0-FFE49F4D796E}" type="pres">
      <dgm:prSet presAssocID="{C53503D7-6771-4A92-B3B0-6AE6C88E4986}" presName="L2TextContainerWrapper" presStyleCnt="0">
        <dgm:presLayoutVars>
          <dgm:chMax val="0"/>
          <dgm:chPref val="0"/>
          <dgm:bulletEnabled val="1"/>
        </dgm:presLayoutVars>
      </dgm:prSet>
      <dgm:spPr/>
    </dgm:pt>
    <dgm:pt modelId="{EC569E86-B425-49EE-88C4-368F2F0477F3}" type="pres">
      <dgm:prSet presAssocID="{C53503D7-6771-4A92-B3B0-6AE6C88E4986}" presName="L2TextContainer" presStyleLbl="bgAccFollowNode1" presStyleIdx="1" presStyleCnt="5"/>
      <dgm:spPr/>
    </dgm:pt>
    <dgm:pt modelId="{08DB3281-B91C-46FB-A22E-CB5C54223DB4}" type="pres">
      <dgm:prSet presAssocID="{C53503D7-6771-4A92-B3B0-6AE6C88E4986}" presName="FlexibleEmptyPlaceHolder" presStyleCnt="0"/>
      <dgm:spPr/>
    </dgm:pt>
    <dgm:pt modelId="{B158CA03-9930-47E6-9AA1-E4648BB2F360}" type="pres">
      <dgm:prSet presAssocID="{C53503D7-6771-4A92-B3B0-6AE6C88E4986}" presName="ConnectLine" presStyleLbl="alignNode1" presStyleIdx="1" presStyleCnt="5"/>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BD6D5568-33C6-472B-A425-E7D06D5D0E9D}" type="pres">
      <dgm:prSet presAssocID="{C53503D7-6771-4A92-B3B0-6AE6C88E4986}" presName="ConnectorPoint" presStyleLbl="fgAcc1" presStyleIdx="1" presStyleCnt="5"/>
      <dgm:spPr>
        <a:solidFill>
          <a:schemeClr val="lt1">
            <a:alpha val="90000"/>
            <a:hueOff val="0"/>
            <a:satOff val="0"/>
            <a:lumOff val="0"/>
            <a:alphaOff val="0"/>
          </a:schemeClr>
        </a:solidFill>
        <a:ln w="12700" cap="flat" cmpd="sng" algn="ctr">
          <a:noFill/>
          <a:prstDash val="solid"/>
          <a:miter lim="800000"/>
        </a:ln>
        <a:effectLst/>
      </dgm:spPr>
    </dgm:pt>
    <dgm:pt modelId="{7304B602-8F49-4E0A-B449-6CCC6230392E}" type="pres">
      <dgm:prSet presAssocID="{C53503D7-6771-4A92-B3B0-6AE6C88E4986}" presName="EmptyPlaceHolder" presStyleCnt="0"/>
      <dgm:spPr/>
    </dgm:pt>
    <dgm:pt modelId="{472936DB-0E38-4806-9272-17EAE14049EB}" type="pres">
      <dgm:prSet presAssocID="{368C77CA-B511-4E5F-B146-128B31B27C59}" presName="spaceBetweenRectangles" presStyleCnt="0"/>
      <dgm:spPr/>
    </dgm:pt>
    <dgm:pt modelId="{598D9837-0FAC-4EFB-BB67-D9925DB25A69}" type="pres">
      <dgm:prSet presAssocID="{9D839EFC-9A20-4FCC-8988-208CC78D7FB6}" presName="composite" presStyleCnt="0"/>
      <dgm:spPr/>
    </dgm:pt>
    <dgm:pt modelId="{E799655F-6107-4BD3-905B-E69B112315CB}" type="pres">
      <dgm:prSet presAssocID="{9D839EFC-9A20-4FCC-8988-208CC78D7FB6}" presName="L1TextContainer" presStyleLbl="revTx" presStyleIdx="2" presStyleCnt="5">
        <dgm:presLayoutVars>
          <dgm:chMax val="1"/>
          <dgm:chPref val="1"/>
          <dgm:bulletEnabled val="1"/>
        </dgm:presLayoutVars>
      </dgm:prSet>
      <dgm:spPr/>
    </dgm:pt>
    <dgm:pt modelId="{525127B5-DF71-4860-9151-5AF8F1202C41}" type="pres">
      <dgm:prSet presAssocID="{9D839EFC-9A20-4FCC-8988-208CC78D7FB6}" presName="L2TextContainerWrapper" presStyleCnt="0">
        <dgm:presLayoutVars>
          <dgm:chMax val="0"/>
          <dgm:chPref val="0"/>
          <dgm:bulletEnabled val="1"/>
        </dgm:presLayoutVars>
      </dgm:prSet>
      <dgm:spPr/>
    </dgm:pt>
    <dgm:pt modelId="{94292A8B-4649-4D71-B625-F1A0057D7CD7}" type="pres">
      <dgm:prSet presAssocID="{9D839EFC-9A20-4FCC-8988-208CC78D7FB6}" presName="L2TextContainer" presStyleLbl="bgAccFollowNode1" presStyleIdx="2" presStyleCnt="5"/>
      <dgm:spPr/>
    </dgm:pt>
    <dgm:pt modelId="{80DE4C1E-2D9A-48F8-B6A1-8A6132CB1B46}" type="pres">
      <dgm:prSet presAssocID="{9D839EFC-9A20-4FCC-8988-208CC78D7FB6}" presName="FlexibleEmptyPlaceHolder" presStyleCnt="0"/>
      <dgm:spPr/>
    </dgm:pt>
    <dgm:pt modelId="{97F5E85B-8873-40C9-BFCE-D151924564FE}" type="pres">
      <dgm:prSet presAssocID="{9D839EFC-9A20-4FCC-8988-208CC78D7FB6}" presName="ConnectLine" presStyleLbl="alignNode1" presStyleIdx="2" presStyleCnt="5"/>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F43A0E20-9FE9-4AC0-BF8A-5953A18EB17C}" type="pres">
      <dgm:prSet presAssocID="{9D839EFC-9A20-4FCC-8988-208CC78D7FB6}" presName="ConnectorPoint" presStyleLbl="fgAcc1" presStyleIdx="2" presStyleCnt="5"/>
      <dgm:spPr>
        <a:solidFill>
          <a:schemeClr val="lt1">
            <a:alpha val="90000"/>
            <a:hueOff val="0"/>
            <a:satOff val="0"/>
            <a:lumOff val="0"/>
            <a:alphaOff val="0"/>
          </a:schemeClr>
        </a:solidFill>
        <a:ln w="12700" cap="flat" cmpd="sng" algn="ctr">
          <a:noFill/>
          <a:prstDash val="solid"/>
          <a:miter lim="800000"/>
        </a:ln>
        <a:effectLst/>
      </dgm:spPr>
    </dgm:pt>
    <dgm:pt modelId="{DB2BA2BC-0710-46D8-B5C9-BAA3F3C297B4}" type="pres">
      <dgm:prSet presAssocID="{9D839EFC-9A20-4FCC-8988-208CC78D7FB6}" presName="EmptyPlaceHolder" presStyleCnt="0"/>
      <dgm:spPr/>
    </dgm:pt>
    <dgm:pt modelId="{CA844F8C-E54E-486E-B030-DA563F229052}" type="pres">
      <dgm:prSet presAssocID="{8A38CCB8-50F8-4370-AA39-9EB7CEB46907}" presName="spaceBetweenRectangles" presStyleCnt="0"/>
      <dgm:spPr/>
    </dgm:pt>
    <dgm:pt modelId="{345AED36-545E-4623-B604-0BD32C4E762A}" type="pres">
      <dgm:prSet presAssocID="{9EB0BA35-87AE-4C13-9444-B60B6C945EF7}" presName="composite" presStyleCnt="0"/>
      <dgm:spPr/>
    </dgm:pt>
    <dgm:pt modelId="{9A1D9158-55D6-4975-98AE-9D15A0722812}" type="pres">
      <dgm:prSet presAssocID="{9EB0BA35-87AE-4C13-9444-B60B6C945EF7}" presName="L1TextContainer" presStyleLbl="revTx" presStyleIdx="3" presStyleCnt="5">
        <dgm:presLayoutVars>
          <dgm:chMax val="1"/>
          <dgm:chPref val="1"/>
          <dgm:bulletEnabled val="1"/>
        </dgm:presLayoutVars>
      </dgm:prSet>
      <dgm:spPr/>
    </dgm:pt>
    <dgm:pt modelId="{30610E4C-9A9C-4FF9-B149-B9445A03CA57}" type="pres">
      <dgm:prSet presAssocID="{9EB0BA35-87AE-4C13-9444-B60B6C945EF7}" presName="L2TextContainerWrapper" presStyleCnt="0">
        <dgm:presLayoutVars>
          <dgm:chMax val="0"/>
          <dgm:chPref val="0"/>
          <dgm:bulletEnabled val="1"/>
        </dgm:presLayoutVars>
      </dgm:prSet>
      <dgm:spPr/>
    </dgm:pt>
    <dgm:pt modelId="{94DD1899-7F47-4DC7-ACA5-54026D3E387D}" type="pres">
      <dgm:prSet presAssocID="{9EB0BA35-87AE-4C13-9444-B60B6C945EF7}" presName="L2TextContainer" presStyleLbl="bgAccFollowNode1" presStyleIdx="3" presStyleCnt="5"/>
      <dgm:spPr/>
    </dgm:pt>
    <dgm:pt modelId="{EA76A86B-D225-457C-B9C2-47FD76B9FFCE}" type="pres">
      <dgm:prSet presAssocID="{9EB0BA35-87AE-4C13-9444-B60B6C945EF7}" presName="FlexibleEmptyPlaceHolder" presStyleCnt="0"/>
      <dgm:spPr/>
    </dgm:pt>
    <dgm:pt modelId="{27709C24-9AD4-474F-969B-7BDAD118EFEE}" type="pres">
      <dgm:prSet presAssocID="{9EB0BA35-87AE-4C13-9444-B60B6C945EF7}" presName="ConnectLine" presStyleLbl="alignNode1" presStyleIdx="3" presStyleCnt="5"/>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51B89D65-BB8D-44E8-A2A6-DA7210E86BE6}" type="pres">
      <dgm:prSet presAssocID="{9EB0BA35-87AE-4C13-9444-B60B6C945EF7}" presName="ConnectorPoint" presStyleLbl="fgAcc1" presStyleIdx="3" presStyleCnt="5"/>
      <dgm:spPr>
        <a:solidFill>
          <a:schemeClr val="lt1">
            <a:alpha val="90000"/>
            <a:hueOff val="0"/>
            <a:satOff val="0"/>
            <a:lumOff val="0"/>
            <a:alphaOff val="0"/>
          </a:schemeClr>
        </a:solidFill>
        <a:ln w="12700" cap="flat" cmpd="sng" algn="ctr">
          <a:noFill/>
          <a:prstDash val="solid"/>
          <a:miter lim="800000"/>
        </a:ln>
        <a:effectLst/>
      </dgm:spPr>
    </dgm:pt>
    <dgm:pt modelId="{FD595E09-A526-445A-AF18-7E2B9C525EA4}" type="pres">
      <dgm:prSet presAssocID="{9EB0BA35-87AE-4C13-9444-B60B6C945EF7}" presName="EmptyPlaceHolder" presStyleCnt="0"/>
      <dgm:spPr/>
    </dgm:pt>
    <dgm:pt modelId="{2D7B1E53-3332-4276-8F4F-2D00D6E6289F}" type="pres">
      <dgm:prSet presAssocID="{79AB72BE-2A17-4FE0-9AC7-699AD4A225D0}" presName="spaceBetweenRectangles" presStyleCnt="0"/>
      <dgm:spPr/>
    </dgm:pt>
    <dgm:pt modelId="{E8E8BCD3-310E-4434-AE6D-B90A0D6D44A1}" type="pres">
      <dgm:prSet presAssocID="{F76F88FE-4DA6-468A-B4EF-3835C974DF81}" presName="composite" presStyleCnt="0"/>
      <dgm:spPr/>
    </dgm:pt>
    <dgm:pt modelId="{6E2B738A-79DA-4453-9358-3AE4C120C2D0}" type="pres">
      <dgm:prSet presAssocID="{F76F88FE-4DA6-468A-B4EF-3835C974DF81}" presName="L1TextContainer" presStyleLbl="revTx" presStyleIdx="4" presStyleCnt="5">
        <dgm:presLayoutVars>
          <dgm:chMax val="1"/>
          <dgm:chPref val="1"/>
          <dgm:bulletEnabled val="1"/>
        </dgm:presLayoutVars>
      </dgm:prSet>
      <dgm:spPr/>
    </dgm:pt>
    <dgm:pt modelId="{6EEB0797-F5EB-4786-850A-0DD4B4766827}" type="pres">
      <dgm:prSet presAssocID="{F76F88FE-4DA6-468A-B4EF-3835C974DF81}" presName="L2TextContainerWrapper" presStyleCnt="0">
        <dgm:presLayoutVars>
          <dgm:chMax val="0"/>
          <dgm:chPref val="0"/>
          <dgm:bulletEnabled val="1"/>
        </dgm:presLayoutVars>
      </dgm:prSet>
      <dgm:spPr/>
    </dgm:pt>
    <dgm:pt modelId="{E03A5F87-0CF2-4F02-9AA2-0B186A1A619C}" type="pres">
      <dgm:prSet presAssocID="{F76F88FE-4DA6-468A-B4EF-3835C974DF81}" presName="L2TextContainer" presStyleLbl="bgAccFollowNode1" presStyleIdx="4" presStyleCnt="5"/>
      <dgm:spPr/>
    </dgm:pt>
    <dgm:pt modelId="{0B9390AE-4242-46FC-9A70-D41D92AE52BC}" type="pres">
      <dgm:prSet presAssocID="{F76F88FE-4DA6-468A-B4EF-3835C974DF81}" presName="FlexibleEmptyPlaceHolder" presStyleCnt="0"/>
      <dgm:spPr/>
    </dgm:pt>
    <dgm:pt modelId="{7BDDDE55-B12D-451A-A37F-09E07F832ADC}" type="pres">
      <dgm:prSet presAssocID="{F76F88FE-4DA6-468A-B4EF-3835C974DF81}" presName="ConnectLine" presStyleLbl="alignNode1" presStyleIdx="4" presStyleCnt="5"/>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109411B1-ED8B-4A90-A824-4ACC270C36B2}" type="pres">
      <dgm:prSet presAssocID="{F76F88FE-4DA6-468A-B4EF-3835C974DF81}" presName="ConnectorPoint" presStyleLbl="fgAcc1" presStyleIdx="4" presStyleCnt="5"/>
      <dgm:spPr>
        <a:solidFill>
          <a:schemeClr val="lt1">
            <a:alpha val="90000"/>
            <a:hueOff val="0"/>
            <a:satOff val="0"/>
            <a:lumOff val="0"/>
            <a:alphaOff val="0"/>
          </a:schemeClr>
        </a:solidFill>
        <a:ln w="12700" cap="flat" cmpd="sng" algn="ctr">
          <a:noFill/>
          <a:prstDash val="solid"/>
          <a:miter lim="800000"/>
        </a:ln>
        <a:effectLst/>
      </dgm:spPr>
    </dgm:pt>
    <dgm:pt modelId="{F41DDA68-9F5E-4DF2-8F8E-A82216AACD2D}" type="pres">
      <dgm:prSet presAssocID="{F76F88FE-4DA6-468A-B4EF-3835C974DF81}" presName="EmptyPlaceHolder" presStyleCnt="0"/>
      <dgm:spPr/>
    </dgm:pt>
  </dgm:ptLst>
  <dgm:cxnLst>
    <dgm:cxn modelId="{9852D812-88A3-46F8-A6BE-2B14BC1BADCA}" type="presOf" srcId="{9EB0BA35-87AE-4C13-9444-B60B6C945EF7}" destId="{9A1D9158-55D6-4975-98AE-9D15A0722812}" srcOrd="0" destOrd="0" presId="urn:microsoft.com/office/officeart/2017/3/layout/HorizontalPathTimeline"/>
    <dgm:cxn modelId="{84243819-6B3D-4FFC-870C-5F8BC6E925F7}" srcId="{FF1F6200-19CA-4E41-86FB-235A68C0F3D7}" destId="{FC17DF3B-4436-439C-A2F0-CC721E9EE3D8}" srcOrd="0" destOrd="0" parTransId="{235E3395-6454-461D-9117-D8278B2F9984}" sibTransId="{887ED230-A0EB-4CD9-9530-7F53B6721E1A}"/>
    <dgm:cxn modelId="{BB01B122-201B-48BD-9412-B4BA5FEB6E62}" type="presOf" srcId="{52C235DF-B178-455A-8B31-FF60E06C5B1D}" destId="{E03A5F87-0CF2-4F02-9AA2-0B186A1A619C}" srcOrd="0" destOrd="0" presId="urn:microsoft.com/office/officeart/2017/3/layout/HorizontalPathTimeline"/>
    <dgm:cxn modelId="{BC089823-9140-4267-BDE3-CCFA449FC3B6}" type="presOf" srcId="{0811B3D0-96EC-49A2-8E6A-4C3A069957FA}" destId="{EC569E86-B425-49EE-88C4-368F2F0477F3}" srcOrd="0" destOrd="0" presId="urn:microsoft.com/office/officeart/2017/3/layout/HorizontalPathTimeline"/>
    <dgm:cxn modelId="{59C6EC27-ED24-473E-91F7-AE5006911514}" type="presOf" srcId="{02E5AC00-CE7D-48E9-82C0-3BA31ADC0FC9}" destId="{F663613A-0730-4FD9-A37B-5FC69344C4E0}" srcOrd="0" destOrd="0" presId="urn:microsoft.com/office/officeart/2017/3/layout/HorizontalPathTimeline"/>
    <dgm:cxn modelId="{ABCEDC2D-39EF-4F2E-942C-49E902224752}" srcId="{FC17DF3B-4436-439C-A2F0-CC721E9EE3D8}" destId="{02E5AC00-CE7D-48E9-82C0-3BA31ADC0FC9}" srcOrd="0" destOrd="0" parTransId="{94BD62E0-0454-4668-A7C7-66F1F8BE24E2}" sibTransId="{1AF5E2BC-506E-45DF-AE83-3C7A414D27A1}"/>
    <dgm:cxn modelId="{6B480546-0B9D-4C8F-A18C-34BAA3154804}" type="presOf" srcId="{FC17DF3B-4436-439C-A2F0-CC721E9EE3D8}" destId="{FFE5C76E-A39B-4AD7-9115-6726C8992692}" srcOrd="0" destOrd="0" presId="urn:microsoft.com/office/officeart/2017/3/layout/HorizontalPathTimeline"/>
    <dgm:cxn modelId="{65FCA86E-43F7-4232-9DA8-7A5523CDE5EF}" srcId="{FF1F6200-19CA-4E41-86FB-235A68C0F3D7}" destId="{F76F88FE-4DA6-468A-B4EF-3835C974DF81}" srcOrd="4" destOrd="0" parTransId="{1AE78E13-97DF-424E-B3D8-C45BEF043C5C}" sibTransId="{0FBB94EA-3712-4874-A9C1-200C126D4333}"/>
    <dgm:cxn modelId="{A67ADF6E-3FC2-429F-832C-7B94F358235A}" srcId="{F76F88FE-4DA6-468A-B4EF-3835C974DF81}" destId="{52C235DF-B178-455A-8B31-FF60E06C5B1D}" srcOrd="0" destOrd="0" parTransId="{6D17CE1B-7EB4-42A5-984A-7965EE78A61F}" sibTransId="{6250C9A2-599A-4E39-9329-2040505EA118}"/>
    <dgm:cxn modelId="{12F77B52-48C8-4128-B699-17D524EBF4E8}" srcId="{9D839EFC-9A20-4FCC-8988-208CC78D7FB6}" destId="{643F65AC-92A0-43D9-A5CE-242DF6797656}" srcOrd="0" destOrd="0" parTransId="{8D789F60-64E2-4518-8C8D-08A575202CC3}" sibTransId="{E5D0A19D-FE3F-4654-A390-D64063CCCC97}"/>
    <dgm:cxn modelId="{35071879-D14A-4E9D-875E-4534CD9DA6F6}" srcId="{9EB0BA35-87AE-4C13-9444-B60B6C945EF7}" destId="{D08E745C-3E7F-4932-8E43-877ED1F96E55}" srcOrd="0" destOrd="0" parTransId="{460C6355-0E94-4142-BF25-1C39D9896F69}" sibTransId="{C52B675D-9322-4534-ACAE-E5FD345BBA80}"/>
    <dgm:cxn modelId="{F3079B7B-FD9C-45BF-BFEB-4544624D749B}" srcId="{C53503D7-6771-4A92-B3B0-6AE6C88E4986}" destId="{0811B3D0-96EC-49A2-8E6A-4C3A069957FA}" srcOrd="0" destOrd="0" parTransId="{279E8CDD-F6E5-443A-917F-6DF17E3399AA}" sibTransId="{4D37B5A5-EA62-4740-8F1C-7D872635C984}"/>
    <dgm:cxn modelId="{58BA8186-B080-4C6A-B1EA-03CDB1BDA7EA}" type="presOf" srcId="{FF1F6200-19CA-4E41-86FB-235A68C0F3D7}" destId="{78536336-8A6A-4F69-8290-3883874C44F5}" srcOrd="0" destOrd="0" presId="urn:microsoft.com/office/officeart/2017/3/layout/HorizontalPathTimeline"/>
    <dgm:cxn modelId="{2324229E-1DB6-4236-99A7-DF1945E51C75}" type="presOf" srcId="{9D839EFC-9A20-4FCC-8988-208CC78D7FB6}" destId="{E799655F-6107-4BD3-905B-E69B112315CB}" srcOrd="0" destOrd="0" presId="urn:microsoft.com/office/officeart/2017/3/layout/HorizontalPathTimeline"/>
    <dgm:cxn modelId="{CF275BB4-9624-4F9B-8D99-45FCAAA52F3A}" srcId="{FF1F6200-19CA-4E41-86FB-235A68C0F3D7}" destId="{9EB0BA35-87AE-4C13-9444-B60B6C945EF7}" srcOrd="3" destOrd="0" parTransId="{8ED06653-B1ED-4A36-89CB-55AA4C7D0C44}" sibTransId="{79AB72BE-2A17-4FE0-9AC7-699AD4A225D0}"/>
    <dgm:cxn modelId="{0F6E2BE2-F113-4837-8416-B752158986E3}" type="presOf" srcId="{D08E745C-3E7F-4932-8E43-877ED1F96E55}" destId="{94DD1899-7F47-4DC7-ACA5-54026D3E387D}" srcOrd="0" destOrd="0" presId="urn:microsoft.com/office/officeart/2017/3/layout/HorizontalPathTimeline"/>
    <dgm:cxn modelId="{A99AF4E2-478C-4000-AB0E-8F321272E773}" srcId="{FF1F6200-19CA-4E41-86FB-235A68C0F3D7}" destId="{C53503D7-6771-4A92-B3B0-6AE6C88E4986}" srcOrd="1" destOrd="0" parTransId="{3C4F4C56-DE54-4F0C-9514-C31469D5B1DB}" sibTransId="{368C77CA-B511-4E5F-B146-128B31B27C59}"/>
    <dgm:cxn modelId="{9BB678E6-2A38-4600-93AE-E4B26A478C75}" type="presOf" srcId="{F76F88FE-4DA6-468A-B4EF-3835C974DF81}" destId="{6E2B738A-79DA-4453-9358-3AE4C120C2D0}" srcOrd="0" destOrd="0" presId="urn:microsoft.com/office/officeart/2017/3/layout/HorizontalPathTimeline"/>
    <dgm:cxn modelId="{39F116ED-F0DB-4D5C-842E-E348CA11F7DF}" srcId="{FF1F6200-19CA-4E41-86FB-235A68C0F3D7}" destId="{9D839EFC-9A20-4FCC-8988-208CC78D7FB6}" srcOrd="2" destOrd="0" parTransId="{2517EF25-46F5-4BBB-8F78-5B776E4C9D07}" sibTransId="{8A38CCB8-50F8-4370-AA39-9EB7CEB46907}"/>
    <dgm:cxn modelId="{F56F5AF2-F27E-4552-BB44-FE8B54D4256E}" type="presOf" srcId="{C53503D7-6771-4A92-B3B0-6AE6C88E4986}" destId="{C6F24B6E-9F8F-475B-BF02-E63F6D586386}" srcOrd="0" destOrd="0" presId="urn:microsoft.com/office/officeart/2017/3/layout/HorizontalPathTimeline"/>
    <dgm:cxn modelId="{34CC41F5-58AE-4A79-8545-4A10DB411C1E}" type="presOf" srcId="{643F65AC-92A0-43D9-A5CE-242DF6797656}" destId="{94292A8B-4649-4D71-B625-F1A0057D7CD7}" srcOrd="0" destOrd="0" presId="urn:microsoft.com/office/officeart/2017/3/layout/HorizontalPathTimeline"/>
    <dgm:cxn modelId="{1E10D82B-97EF-47B7-93EE-C2687926BC49}" type="presParOf" srcId="{78536336-8A6A-4F69-8290-3883874C44F5}" destId="{884B2401-4217-41CD-B3FE-6311F46E3756}" srcOrd="0" destOrd="0" presId="urn:microsoft.com/office/officeart/2017/3/layout/HorizontalPathTimeline"/>
    <dgm:cxn modelId="{0C7C5096-2109-4D4C-8C1F-85CAAAA139E4}" type="presParOf" srcId="{78536336-8A6A-4F69-8290-3883874C44F5}" destId="{E67A6CCB-1197-493C-BF6E-95C0800DED8E}" srcOrd="1" destOrd="0" presId="urn:microsoft.com/office/officeart/2017/3/layout/HorizontalPathTimeline"/>
    <dgm:cxn modelId="{C35EC93E-FAD5-42FD-8A55-C5DE7E69C78A}" type="presParOf" srcId="{E67A6CCB-1197-493C-BF6E-95C0800DED8E}" destId="{C1E1CC69-7FD2-4691-8035-AB8BEF0E3352}" srcOrd="0" destOrd="0" presId="urn:microsoft.com/office/officeart/2017/3/layout/HorizontalPathTimeline"/>
    <dgm:cxn modelId="{95A90185-7942-41ED-8F25-D063BC1F49F5}" type="presParOf" srcId="{C1E1CC69-7FD2-4691-8035-AB8BEF0E3352}" destId="{FFE5C76E-A39B-4AD7-9115-6726C8992692}" srcOrd="0" destOrd="0" presId="urn:microsoft.com/office/officeart/2017/3/layout/HorizontalPathTimeline"/>
    <dgm:cxn modelId="{1C47F36D-58C3-479D-AB7B-1A2D93375C9D}" type="presParOf" srcId="{C1E1CC69-7FD2-4691-8035-AB8BEF0E3352}" destId="{3ADE2139-CA1A-4C67-9C9A-3113C031B885}" srcOrd="1" destOrd="0" presId="urn:microsoft.com/office/officeart/2017/3/layout/HorizontalPathTimeline"/>
    <dgm:cxn modelId="{95E373E1-AA4E-4A17-93DF-B31AAE60F942}" type="presParOf" srcId="{3ADE2139-CA1A-4C67-9C9A-3113C031B885}" destId="{F663613A-0730-4FD9-A37B-5FC69344C4E0}" srcOrd="0" destOrd="0" presId="urn:microsoft.com/office/officeart/2017/3/layout/HorizontalPathTimeline"/>
    <dgm:cxn modelId="{5DAB4F23-9321-4856-97FF-83F212A0A682}" type="presParOf" srcId="{3ADE2139-CA1A-4C67-9C9A-3113C031B885}" destId="{7008FE1B-C05E-4EFE-8DD9-75E3FA7F944D}" srcOrd="1" destOrd="0" presId="urn:microsoft.com/office/officeart/2017/3/layout/HorizontalPathTimeline"/>
    <dgm:cxn modelId="{A80CF00E-1C1D-4A38-A1A4-5A4BD5BB69D3}" type="presParOf" srcId="{C1E1CC69-7FD2-4691-8035-AB8BEF0E3352}" destId="{1D4582E4-7A3E-4F14-AF71-A7C3280B4624}" srcOrd="2" destOrd="0" presId="urn:microsoft.com/office/officeart/2017/3/layout/HorizontalPathTimeline"/>
    <dgm:cxn modelId="{FF99F5C7-65A3-4F40-B430-B23681652F71}" type="presParOf" srcId="{C1E1CC69-7FD2-4691-8035-AB8BEF0E3352}" destId="{0155EA6A-25F7-4340-A608-05520C1B8FE4}" srcOrd="3" destOrd="0" presId="urn:microsoft.com/office/officeart/2017/3/layout/HorizontalPathTimeline"/>
    <dgm:cxn modelId="{3EF6A793-D138-492B-AC87-18E12AB1B50C}" type="presParOf" srcId="{C1E1CC69-7FD2-4691-8035-AB8BEF0E3352}" destId="{0695B4B7-0D63-418F-A9A3-8030FBA090D2}" srcOrd="4" destOrd="0" presId="urn:microsoft.com/office/officeart/2017/3/layout/HorizontalPathTimeline"/>
    <dgm:cxn modelId="{EA6F1074-71CB-46EE-BC32-87DA473259D8}" type="presParOf" srcId="{E67A6CCB-1197-493C-BF6E-95C0800DED8E}" destId="{1F4232F8-C70C-41E7-B5CB-B5B3539CB94F}" srcOrd="1" destOrd="0" presId="urn:microsoft.com/office/officeart/2017/3/layout/HorizontalPathTimeline"/>
    <dgm:cxn modelId="{FD8CE289-58B2-4DD0-BAA3-0F9B9E191714}" type="presParOf" srcId="{E67A6CCB-1197-493C-BF6E-95C0800DED8E}" destId="{2D8FDB10-B17A-4BED-8033-C7E3B4FEEABC}" srcOrd="2" destOrd="0" presId="urn:microsoft.com/office/officeart/2017/3/layout/HorizontalPathTimeline"/>
    <dgm:cxn modelId="{DEB8913A-B537-446C-A228-F126DE33109B}" type="presParOf" srcId="{2D8FDB10-B17A-4BED-8033-C7E3B4FEEABC}" destId="{C6F24B6E-9F8F-475B-BF02-E63F6D586386}" srcOrd="0" destOrd="0" presId="urn:microsoft.com/office/officeart/2017/3/layout/HorizontalPathTimeline"/>
    <dgm:cxn modelId="{A2C96ACD-0701-48F4-90FF-A1A3693963A7}" type="presParOf" srcId="{2D8FDB10-B17A-4BED-8033-C7E3B4FEEABC}" destId="{6FF08762-9275-493B-98E0-FFE49F4D796E}" srcOrd="1" destOrd="0" presId="urn:microsoft.com/office/officeart/2017/3/layout/HorizontalPathTimeline"/>
    <dgm:cxn modelId="{D0090591-3302-47E4-860D-29F658AAC09E}" type="presParOf" srcId="{6FF08762-9275-493B-98E0-FFE49F4D796E}" destId="{EC569E86-B425-49EE-88C4-368F2F0477F3}" srcOrd="0" destOrd="0" presId="urn:microsoft.com/office/officeart/2017/3/layout/HorizontalPathTimeline"/>
    <dgm:cxn modelId="{9BBEC6CE-FF2F-49C3-8461-848E647DB81E}" type="presParOf" srcId="{6FF08762-9275-493B-98E0-FFE49F4D796E}" destId="{08DB3281-B91C-46FB-A22E-CB5C54223DB4}" srcOrd="1" destOrd="0" presId="urn:microsoft.com/office/officeart/2017/3/layout/HorizontalPathTimeline"/>
    <dgm:cxn modelId="{A287D4F8-DBA4-4518-8E40-CA11A58056BC}" type="presParOf" srcId="{2D8FDB10-B17A-4BED-8033-C7E3B4FEEABC}" destId="{B158CA03-9930-47E6-9AA1-E4648BB2F360}" srcOrd="2" destOrd="0" presId="urn:microsoft.com/office/officeart/2017/3/layout/HorizontalPathTimeline"/>
    <dgm:cxn modelId="{899397AC-F507-4663-95CE-44AC127ECAA4}" type="presParOf" srcId="{2D8FDB10-B17A-4BED-8033-C7E3B4FEEABC}" destId="{BD6D5568-33C6-472B-A425-E7D06D5D0E9D}" srcOrd="3" destOrd="0" presId="urn:microsoft.com/office/officeart/2017/3/layout/HorizontalPathTimeline"/>
    <dgm:cxn modelId="{9082E23E-C954-4521-B402-2CEB851CD501}" type="presParOf" srcId="{2D8FDB10-B17A-4BED-8033-C7E3B4FEEABC}" destId="{7304B602-8F49-4E0A-B449-6CCC6230392E}" srcOrd="4" destOrd="0" presId="urn:microsoft.com/office/officeart/2017/3/layout/HorizontalPathTimeline"/>
    <dgm:cxn modelId="{CAB3AE9F-2230-40A0-AA1B-0A7CCCA0F922}" type="presParOf" srcId="{E67A6CCB-1197-493C-BF6E-95C0800DED8E}" destId="{472936DB-0E38-4806-9272-17EAE14049EB}" srcOrd="3" destOrd="0" presId="urn:microsoft.com/office/officeart/2017/3/layout/HorizontalPathTimeline"/>
    <dgm:cxn modelId="{44B931D9-012F-43FA-9144-9150070868F2}" type="presParOf" srcId="{E67A6CCB-1197-493C-BF6E-95C0800DED8E}" destId="{598D9837-0FAC-4EFB-BB67-D9925DB25A69}" srcOrd="4" destOrd="0" presId="urn:microsoft.com/office/officeart/2017/3/layout/HorizontalPathTimeline"/>
    <dgm:cxn modelId="{4A97B08A-C1AB-4C8A-956B-A57EF35F4C6F}" type="presParOf" srcId="{598D9837-0FAC-4EFB-BB67-D9925DB25A69}" destId="{E799655F-6107-4BD3-905B-E69B112315CB}" srcOrd="0" destOrd="0" presId="urn:microsoft.com/office/officeart/2017/3/layout/HorizontalPathTimeline"/>
    <dgm:cxn modelId="{F35EBBD5-0BBB-4502-A796-137C0F29BFB7}" type="presParOf" srcId="{598D9837-0FAC-4EFB-BB67-D9925DB25A69}" destId="{525127B5-DF71-4860-9151-5AF8F1202C41}" srcOrd="1" destOrd="0" presId="urn:microsoft.com/office/officeart/2017/3/layout/HorizontalPathTimeline"/>
    <dgm:cxn modelId="{4E511D74-9445-4318-9FBE-C8ED6B7D6134}" type="presParOf" srcId="{525127B5-DF71-4860-9151-5AF8F1202C41}" destId="{94292A8B-4649-4D71-B625-F1A0057D7CD7}" srcOrd="0" destOrd="0" presId="urn:microsoft.com/office/officeart/2017/3/layout/HorizontalPathTimeline"/>
    <dgm:cxn modelId="{2DFC4AEC-3727-41F3-9E85-9F721C2B5D74}" type="presParOf" srcId="{525127B5-DF71-4860-9151-5AF8F1202C41}" destId="{80DE4C1E-2D9A-48F8-B6A1-8A6132CB1B46}" srcOrd="1" destOrd="0" presId="urn:microsoft.com/office/officeart/2017/3/layout/HorizontalPathTimeline"/>
    <dgm:cxn modelId="{639BBBA1-B817-4E17-9BB1-DCF0088EB11B}" type="presParOf" srcId="{598D9837-0FAC-4EFB-BB67-D9925DB25A69}" destId="{97F5E85B-8873-40C9-BFCE-D151924564FE}" srcOrd="2" destOrd="0" presId="urn:microsoft.com/office/officeart/2017/3/layout/HorizontalPathTimeline"/>
    <dgm:cxn modelId="{3E72639B-3C9C-4413-AFAA-0E80416A6B95}" type="presParOf" srcId="{598D9837-0FAC-4EFB-BB67-D9925DB25A69}" destId="{F43A0E20-9FE9-4AC0-BF8A-5953A18EB17C}" srcOrd="3" destOrd="0" presId="urn:microsoft.com/office/officeart/2017/3/layout/HorizontalPathTimeline"/>
    <dgm:cxn modelId="{BB527A1C-3E31-4EE9-A93B-F359B2A0FD1F}" type="presParOf" srcId="{598D9837-0FAC-4EFB-BB67-D9925DB25A69}" destId="{DB2BA2BC-0710-46D8-B5C9-BAA3F3C297B4}" srcOrd="4" destOrd="0" presId="urn:microsoft.com/office/officeart/2017/3/layout/HorizontalPathTimeline"/>
    <dgm:cxn modelId="{0FF33E3E-E4DB-46D2-808C-701B83CC78B7}" type="presParOf" srcId="{E67A6CCB-1197-493C-BF6E-95C0800DED8E}" destId="{CA844F8C-E54E-486E-B030-DA563F229052}" srcOrd="5" destOrd="0" presId="urn:microsoft.com/office/officeart/2017/3/layout/HorizontalPathTimeline"/>
    <dgm:cxn modelId="{E5F85635-C81C-4D9F-BB83-C6F21E0E1FF4}" type="presParOf" srcId="{E67A6CCB-1197-493C-BF6E-95C0800DED8E}" destId="{345AED36-545E-4623-B604-0BD32C4E762A}" srcOrd="6" destOrd="0" presId="urn:microsoft.com/office/officeart/2017/3/layout/HorizontalPathTimeline"/>
    <dgm:cxn modelId="{BD293BE1-A462-423C-BDEB-4C7145393582}" type="presParOf" srcId="{345AED36-545E-4623-B604-0BD32C4E762A}" destId="{9A1D9158-55D6-4975-98AE-9D15A0722812}" srcOrd="0" destOrd="0" presId="urn:microsoft.com/office/officeart/2017/3/layout/HorizontalPathTimeline"/>
    <dgm:cxn modelId="{0E91589B-AE54-432F-A0DA-A2ABC950F1F9}" type="presParOf" srcId="{345AED36-545E-4623-B604-0BD32C4E762A}" destId="{30610E4C-9A9C-4FF9-B149-B9445A03CA57}" srcOrd="1" destOrd="0" presId="urn:microsoft.com/office/officeart/2017/3/layout/HorizontalPathTimeline"/>
    <dgm:cxn modelId="{63AE5E6A-CD8C-4447-A1E3-ED959EDAAC81}" type="presParOf" srcId="{30610E4C-9A9C-4FF9-B149-B9445A03CA57}" destId="{94DD1899-7F47-4DC7-ACA5-54026D3E387D}" srcOrd="0" destOrd="0" presId="urn:microsoft.com/office/officeart/2017/3/layout/HorizontalPathTimeline"/>
    <dgm:cxn modelId="{25022EB5-0D79-4735-8090-FFDE4B1D5AE4}" type="presParOf" srcId="{30610E4C-9A9C-4FF9-B149-B9445A03CA57}" destId="{EA76A86B-D225-457C-B9C2-47FD76B9FFCE}" srcOrd="1" destOrd="0" presId="urn:microsoft.com/office/officeart/2017/3/layout/HorizontalPathTimeline"/>
    <dgm:cxn modelId="{16F5DAD1-EFF4-4A59-920E-A31E29E00798}" type="presParOf" srcId="{345AED36-545E-4623-B604-0BD32C4E762A}" destId="{27709C24-9AD4-474F-969B-7BDAD118EFEE}" srcOrd="2" destOrd="0" presId="urn:microsoft.com/office/officeart/2017/3/layout/HorizontalPathTimeline"/>
    <dgm:cxn modelId="{23E28D37-8D90-4F9E-A054-53138E5590E6}" type="presParOf" srcId="{345AED36-545E-4623-B604-0BD32C4E762A}" destId="{51B89D65-BB8D-44E8-A2A6-DA7210E86BE6}" srcOrd="3" destOrd="0" presId="urn:microsoft.com/office/officeart/2017/3/layout/HorizontalPathTimeline"/>
    <dgm:cxn modelId="{7A697F6A-2E01-4CAE-88E0-CA8CBF659389}" type="presParOf" srcId="{345AED36-545E-4623-B604-0BD32C4E762A}" destId="{FD595E09-A526-445A-AF18-7E2B9C525EA4}" srcOrd="4" destOrd="0" presId="urn:microsoft.com/office/officeart/2017/3/layout/HorizontalPathTimeline"/>
    <dgm:cxn modelId="{3035F51F-4F9B-4F46-B54F-16508E91A551}" type="presParOf" srcId="{E67A6CCB-1197-493C-BF6E-95C0800DED8E}" destId="{2D7B1E53-3332-4276-8F4F-2D00D6E6289F}" srcOrd="7" destOrd="0" presId="urn:microsoft.com/office/officeart/2017/3/layout/HorizontalPathTimeline"/>
    <dgm:cxn modelId="{7F1EB6DF-E183-4587-B5DF-6FC54FDD2575}" type="presParOf" srcId="{E67A6CCB-1197-493C-BF6E-95C0800DED8E}" destId="{E8E8BCD3-310E-4434-AE6D-B90A0D6D44A1}" srcOrd="8" destOrd="0" presId="urn:microsoft.com/office/officeart/2017/3/layout/HorizontalPathTimeline"/>
    <dgm:cxn modelId="{CDDF027C-40A9-49BC-AD14-9CDFDAFE03E9}" type="presParOf" srcId="{E8E8BCD3-310E-4434-AE6D-B90A0D6D44A1}" destId="{6E2B738A-79DA-4453-9358-3AE4C120C2D0}" srcOrd="0" destOrd="0" presId="urn:microsoft.com/office/officeart/2017/3/layout/HorizontalPathTimeline"/>
    <dgm:cxn modelId="{D975E71C-B6C0-4D90-9F98-EB0C5BD33501}" type="presParOf" srcId="{E8E8BCD3-310E-4434-AE6D-B90A0D6D44A1}" destId="{6EEB0797-F5EB-4786-850A-0DD4B4766827}" srcOrd="1" destOrd="0" presId="urn:microsoft.com/office/officeart/2017/3/layout/HorizontalPathTimeline"/>
    <dgm:cxn modelId="{CD8DF110-FCCE-4ED4-BA18-2CE6521505C8}" type="presParOf" srcId="{6EEB0797-F5EB-4786-850A-0DD4B4766827}" destId="{E03A5F87-0CF2-4F02-9AA2-0B186A1A619C}" srcOrd="0" destOrd="0" presId="urn:microsoft.com/office/officeart/2017/3/layout/HorizontalPathTimeline"/>
    <dgm:cxn modelId="{A1211C1A-8796-45C2-A815-7C7C6D3B0E7E}" type="presParOf" srcId="{6EEB0797-F5EB-4786-850A-0DD4B4766827}" destId="{0B9390AE-4242-46FC-9A70-D41D92AE52BC}" srcOrd="1" destOrd="0" presId="urn:microsoft.com/office/officeart/2017/3/layout/HorizontalPathTimeline"/>
    <dgm:cxn modelId="{3CA91B6A-29FD-4AC9-BB6B-C174F9934922}" type="presParOf" srcId="{E8E8BCD3-310E-4434-AE6D-B90A0D6D44A1}" destId="{7BDDDE55-B12D-451A-A37F-09E07F832ADC}" srcOrd="2" destOrd="0" presId="urn:microsoft.com/office/officeart/2017/3/layout/HorizontalPathTimeline"/>
    <dgm:cxn modelId="{38488675-CB4A-4AC2-8240-B48F9DA4B178}" type="presParOf" srcId="{E8E8BCD3-310E-4434-AE6D-B90A0D6D44A1}" destId="{109411B1-ED8B-4A90-A824-4ACC270C36B2}" srcOrd="3" destOrd="0" presId="urn:microsoft.com/office/officeart/2017/3/layout/HorizontalPathTimeline"/>
    <dgm:cxn modelId="{305E2083-AF1D-42CD-AD0B-AB4254EBD217}" type="presParOf" srcId="{E8E8BCD3-310E-4434-AE6D-B90A0D6D44A1}" destId="{F41DDA68-9F5E-4DF2-8F8E-A82216AACD2D}" srcOrd="4" destOrd="0" presId="urn:microsoft.com/office/officeart/2017/3/layout/HorizontalPath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E5C76E-A39B-4AD7-9115-6726C8992692}">
      <dsp:nvSpPr>
        <dsp:cNvPr id="0" name=""/>
        <dsp:cNvSpPr/>
      </dsp:nvSpPr>
      <dsp:spPr>
        <a:xfrm>
          <a:off x="288527" y="3186598"/>
          <a:ext cx="2274861" cy="6705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89000">
            <a:lnSpc>
              <a:spcPct val="90000"/>
            </a:lnSpc>
            <a:spcBef>
              <a:spcPct val="0"/>
            </a:spcBef>
            <a:spcAft>
              <a:spcPct val="35000"/>
            </a:spcAft>
            <a:buNone/>
            <a:defRPr b="1"/>
          </a:pPr>
          <a:r>
            <a:rPr lang="en-US" sz="2000" kern="1200" dirty="0"/>
            <a:t>Week 1</a:t>
          </a:r>
        </a:p>
      </dsp:txBody>
      <dsp:txXfrm>
        <a:off x="288527" y="3186598"/>
        <a:ext cx="2274861" cy="670550"/>
      </dsp:txXfrm>
    </dsp:sp>
    <dsp:sp modelId="{884B2401-4217-41CD-B3FE-6311F46E3756}">
      <dsp:nvSpPr>
        <dsp:cNvPr id="0" name=""/>
        <dsp:cNvSpPr/>
      </dsp:nvSpPr>
      <dsp:spPr>
        <a:xfrm>
          <a:off x="0" y="2848356"/>
          <a:ext cx="8539068" cy="23736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663613A-0730-4FD9-A37B-5FC69344C4E0}">
      <dsp:nvSpPr>
        <dsp:cNvPr id="0" name=""/>
        <dsp:cNvSpPr/>
      </dsp:nvSpPr>
      <dsp:spPr>
        <a:xfrm>
          <a:off x="174784" y="753071"/>
          <a:ext cx="2502347" cy="108649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kern="1200" dirty="0"/>
            <a:t>Data collection – as soon as media is consolidated/tracking available</a:t>
          </a:r>
        </a:p>
      </dsp:txBody>
      <dsp:txXfrm>
        <a:off x="174784" y="753071"/>
        <a:ext cx="2502347" cy="1086492"/>
      </dsp:txXfrm>
    </dsp:sp>
    <dsp:sp modelId="{1D4582E4-7A3E-4F14-AF71-A7C3280B4624}">
      <dsp:nvSpPr>
        <dsp:cNvPr id="0" name=""/>
        <dsp:cNvSpPr/>
      </dsp:nvSpPr>
      <dsp:spPr>
        <a:xfrm>
          <a:off x="1425957" y="1839563"/>
          <a:ext cx="0" cy="1008792"/>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C6F24B6E-9F8F-475B-BF02-E63F6D586386}">
      <dsp:nvSpPr>
        <dsp:cNvPr id="0" name=""/>
        <dsp:cNvSpPr/>
      </dsp:nvSpPr>
      <dsp:spPr>
        <a:xfrm>
          <a:off x="1710315" y="2076926"/>
          <a:ext cx="2274861" cy="6705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889000">
            <a:lnSpc>
              <a:spcPct val="90000"/>
            </a:lnSpc>
            <a:spcBef>
              <a:spcPct val="0"/>
            </a:spcBef>
            <a:spcAft>
              <a:spcPct val="35000"/>
            </a:spcAft>
            <a:buNone/>
            <a:defRPr b="1"/>
          </a:pPr>
          <a:r>
            <a:rPr lang="en-US" sz="2000" kern="1200" dirty="0"/>
            <a:t>Week 2</a:t>
          </a:r>
        </a:p>
      </dsp:txBody>
      <dsp:txXfrm>
        <a:off x="1710315" y="2076926"/>
        <a:ext cx="2274861" cy="670550"/>
      </dsp:txXfrm>
    </dsp:sp>
    <dsp:sp modelId="{EC569E86-B425-49EE-88C4-368F2F0477F3}">
      <dsp:nvSpPr>
        <dsp:cNvPr id="0" name=""/>
        <dsp:cNvSpPr/>
      </dsp:nvSpPr>
      <dsp:spPr>
        <a:xfrm>
          <a:off x="1596572" y="4094511"/>
          <a:ext cx="2502347" cy="87954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kern="1200" dirty="0"/>
            <a:t>Static Funnels &amp; Feasibility of Dynamic funnels</a:t>
          </a:r>
        </a:p>
      </dsp:txBody>
      <dsp:txXfrm>
        <a:off x="1596572" y="4094511"/>
        <a:ext cx="2502347" cy="879541"/>
      </dsp:txXfrm>
    </dsp:sp>
    <dsp:sp modelId="{B158CA03-9930-47E6-9AA1-E4648BB2F360}">
      <dsp:nvSpPr>
        <dsp:cNvPr id="0" name=""/>
        <dsp:cNvSpPr/>
      </dsp:nvSpPr>
      <dsp:spPr>
        <a:xfrm>
          <a:off x="2847745" y="3085718"/>
          <a:ext cx="0" cy="1008792"/>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0155EA6A-25F7-4340-A608-05520C1B8FE4}">
      <dsp:nvSpPr>
        <dsp:cNvPr id="0" name=""/>
        <dsp:cNvSpPr/>
      </dsp:nvSpPr>
      <dsp:spPr>
        <a:xfrm>
          <a:off x="1351781" y="2892861"/>
          <a:ext cx="148351" cy="14835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D6D5568-33C6-472B-A425-E7D06D5D0E9D}">
      <dsp:nvSpPr>
        <dsp:cNvPr id="0" name=""/>
        <dsp:cNvSpPr/>
      </dsp:nvSpPr>
      <dsp:spPr>
        <a:xfrm>
          <a:off x="2773569" y="2892861"/>
          <a:ext cx="148351" cy="14835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799655F-6107-4BD3-905B-E69B112315CB}">
      <dsp:nvSpPr>
        <dsp:cNvPr id="0" name=""/>
        <dsp:cNvSpPr/>
      </dsp:nvSpPr>
      <dsp:spPr>
        <a:xfrm>
          <a:off x="3132103" y="3186598"/>
          <a:ext cx="2274861" cy="6705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89000">
            <a:lnSpc>
              <a:spcPct val="90000"/>
            </a:lnSpc>
            <a:spcBef>
              <a:spcPct val="0"/>
            </a:spcBef>
            <a:spcAft>
              <a:spcPct val="35000"/>
            </a:spcAft>
            <a:buNone/>
            <a:defRPr b="1"/>
          </a:pPr>
          <a:r>
            <a:rPr lang="en-US" sz="2000" kern="1200" dirty="0"/>
            <a:t>Week 3</a:t>
          </a:r>
        </a:p>
      </dsp:txBody>
      <dsp:txXfrm>
        <a:off x="3132103" y="3186598"/>
        <a:ext cx="2274861" cy="670550"/>
      </dsp:txXfrm>
    </dsp:sp>
    <dsp:sp modelId="{94292A8B-4649-4D71-B625-F1A0057D7CD7}">
      <dsp:nvSpPr>
        <dsp:cNvPr id="0" name=""/>
        <dsp:cNvSpPr/>
      </dsp:nvSpPr>
      <dsp:spPr>
        <a:xfrm>
          <a:off x="3018360" y="1011759"/>
          <a:ext cx="2502347" cy="82780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kern="1200" dirty="0"/>
            <a:t>Dynamic Funnels</a:t>
          </a:r>
        </a:p>
      </dsp:txBody>
      <dsp:txXfrm>
        <a:off x="3018360" y="1011759"/>
        <a:ext cx="2502347" cy="827803"/>
      </dsp:txXfrm>
    </dsp:sp>
    <dsp:sp modelId="{97F5E85B-8873-40C9-BFCE-D151924564FE}">
      <dsp:nvSpPr>
        <dsp:cNvPr id="0" name=""/>
        <dsp:cNvSpPr/>
      </dsp:nvSpPr>
      <dsp:spPr>
        <a:xfrm>
          <a:off x="4269534" y="1839563"/>
          <a:ext cx="0" cy="1008792"/>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9A1D9158-55D6-4975-98AE-9D15A0722812}">
      <dsp:nvSpPr>
        <dsp:cNvPr id="0" name=""/>
        <dsp:cNvSpPr/>
      </dsp:nvSpPr>
      <dsp:spPr>
        <a:xfrm>
          <a:off x="4553891" y="2076926"/>
          <a:ext cx="2274861" cy="6705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889000">
            <a:lnSpc>
              <a:spcPct val="90000"/>
            </a:lnSpc>
            <a:spcBef>
              <a:spcPct val="0"/>
            </a:spcBef>
            <a:spcAft>
              <a:spcPct val="35000"/>
            </a:spcAft>
            <a:buNone/>
            <a:defRPr b="1"/>
          </a:pPr>
          <a:r>
            <a:rPr lang="en-US" sz="2000" kern="1200" dirty="0"/>
            <a:t>Week 4</a:t>
          </a:r>
        </a:p>
      </dsp:txBody>
      <dsp:txXfrm>
        <a:off x="4553891" y="2076926"/>
        <a:ext cx="2274861" cy="670550"/>
      </dsp:txXfrm>
    </dsp:sp>
    <dsp:sp modelId="{94DD1899-7F47-4DC7-ACA5-54026D3E387D}">
      <dsp:nvSpPr>
        <dsp:cNvPr id="0" name=""/>
        <dsp:cNvSpPr/>
      </dsp:nvSpPr>
      <dsp:spPr>
        <a:xfrm>
          <a:off x="4440148" y="4094511"/>
          <a:ext cx="2502347" cy="82780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kern="1200" dirty="0"/>
            <a:t>Implications &amp; Debrief</a:t>
          </a:r>
        </a:p>
      </dsp:txBody>
      <dsp:txXfrm>
        <a:off x="4440148" y="4094511"/>
        <a:ext cx="2502347" cy="827803"/>
      </dsp:txXfrm>
    </dsp:sp>
    <dsp:sp modelId="{27709C24-9AD4-474F-969B-7BDAD118EFEE}">
      <dsp:nvSpPr>
        <dsp:cNvPr id="0" name=""/>
        <dsp:cNvSpPr/>
      </dsp:nvSpPr>
      <dsp:spPr>
        <a:xfrm>
          <a:off x="5691322" y="3085718"/>
          <a:ext cx="0" cy="1008792"/>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F43A0E20-9FE9-4AC0-BF8A-5953A18EB17C}">
      <dsp:nvSpPr>
        <dsp:cNvPr id="0" name=""/>
        <dsp:cNvSpPr/>
      </dsp:nvSpPr>
      <dsp:spPr>
        <a:xfrm>
          <a:off x="4195358" y="2892861"/>
          <a:ext cx="148351" cy="14835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51B89D65-BB8D-44E8-A2A6-DA7210E86BE6}">
      <dsp:nvSpPr>
        <dsp:cNvPr id="0" name=""/>
        <dsp:cNvSpPr/>
      </dsp:nvSpPr>
      <dsp:spPr>
        <a:xfrm>
          <a:off x="5617146" y="2892861"/>
          <a:ext cx="148351" cy="14835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6E2B738A-79DA-4453-9358-3AE4C120C2D0}">
      <dsp:nvSpPr>
        <dsp:cNvPr id="0" name=""/>
        <dsp:cNvSpPr/>
      </dsp:nvSpPr>
      <dsp:spPr>
        <a:xfrm>
          <a:off x="5975679" y="3186598"/>
          <a:ext cx="2274861" cy="6705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89000">
            <a:lnSpc>
              <a:spcPct val="90000"/>
            </a:lnSpc>
            <a:spcBef>
              <a:spcPct val="0"/>
            </a:spcBef>
            <a:spcAft>
              <a:spcPct val="35000"/>
            </a:spcAft>
            <a:buNone/>
            <a:defRPr b="1"/>
          </a:pPr>
          <a:r>
            <a:rPr lang="en-US" sz="2000" kern="1200" dirty="0"/>
            <a:t>Week 5</a:t>
          </a:r>
        </a:p>
      </dsp:txBody>
      <dsp:txXfrm>
        <a:off x="5975679" y="3186598"/>
        <a:ext cx="2274861" cy="670550"/>
      </dsp:txXfrm>
    </dsp:sp>
    <dsp:sp modelId="{E03A5F87-0CF2-4F02-9AA2-0B186A1A619C}">
      <dsp:nvSpPr>
        <dsp:cNvPr id="0" name=""/>
        <dsp:cNvSpPr/>
      </dsp:nvSpPr>
      <dsp:spPr>
        <a:xfrm>
          <a:off x="5861936" y="1011759"/>
          <a:ext cx="2502347" cy="82780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kern="1200" dirty="0"/>
            <a:t>Dynamic Funnel scenario tool</a:t>
          </a:r>
        </a:p>
      </dsp:txBody>
      <dsp:txXfrm>
        <a:off x="5861936" y="1011759"/>
        <a:ext cx="2502347" cy="827803"/>
      </dsp:txXfrm>
    </dsp:sp>
    <dsp:sp modelId="{7BDDDE55-B12D-451A-A37F-09E07F832ADC}">
      <dsp:nvSpPr>
        <dsp:cNvPr id="0" name=""/>
        <dsp:cNvSpPr/>
      </dsp:nvSpPr>
      <dsp:spPr>
        <a:xfrm>
          <a:off x="7113110" y="1839563"/>
          <a:ext cx="0" cy="1008792"/>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109411B1-ED8B-4A90-A824-4ACC270C36B2}">
      <dsp:nvSpPr>
        <dsp:cNvPr id="0" name=""/>
        <dsp:cNvSpPr/>
      </dsp:nvSpPr>
      <dsp:spPr>
        <a:xfrm>
          <a:off x="7038934" y="2892861"/>
          <a:ext cx="148351" cy="14835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7/3/layout/HorizontalPathTimeline">
  <dgm:title val="Horizontal Path Timeline"/>
  <dgm:desc val="Use to show a list of events in chronological order. The rectangular shape contains the description while the date is shown near the circular dot along the time line. It's the perfect SmartArt for displaying large amount of text with a short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refType="h" fact="0.04"/>
      <dgm:constr type="ctrY" for="ch" forName="divider" refType="h" fact="0.5"/>
      <dgm:constr type="l" for="ch" forName="divider"/>
      <dgm:constr type="w" for="ch" forName="nodes" refType="w"/>
      <dgm:constr type="h" for="ch" forName="nodes" refType="h"/>
    </dgm:constrLst>
    <dgm:layoutNode name="divider" styleLbl="node1">
      <dgm:alg type="sp"/>
      <dgm:shape xmlns:r="http://schemas.openxmlformats.org/officeDocument/2006/relationships" type="rect" r:blip="" zOrderOff="2">
        <dgm:adjLst/>
      </dgm:shap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hoose name="constrBasedOnChildrenCount">
        <dgm:if name="constrForTwoChildren" axis="ch" ptType="node" func="cnt" op="lte" val="2">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
            <dgm:constr type="w" for="ch" ptType="sibTrans" op="equ"/>
            <dgm:constr type="primFontSz" for="des" forName="L1TextContainer" op="equ"/>
            <dgm:constr type="primFontSz" for="des" forName="L2TextContainer" op="equ"/>
          </dgm:constrLst>
        </dgm:if>
        <dgm:else name="constrForRest">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Lst>
        </dgm:else>
      </dgm:choose>
      <dgm:forEach name="nodesForEach" axis="ch" ptType="node">
        <dgm:layoutNode name="composite">
          <dgm:alg type="composite"/>
          <dgm:shape xmlns:r="http://schemas.openxmlformats.org/officeDocument/2006/relationships" r:blip="">
            <dgm:adjLst/>
          </dgm:shape>
          <dgm:choose name="CaseForPlacingNodesAboveAndBelowDivider">
            <dgm:if name="CaseForPlacingNodeAboveDivider" axis="self" ptType="node" func="posOdd" op="equ" val="1">
              <dgm:constrLst>
                <dgm:constr type="w" for="ch" forName="L1TextContainer" refType="w" fact="0.8"/>
                <dgm:constr type="l" for="ch" forName="L1TextContainer" refType="w" fact="0.1"/>
                <dgm:constr type="t" for="ch" forName="L1TextContainer" refType="h" fact="0.537"/>
                <dgm:constr type="h" for="ch" forName="L1TextContainer" refType="h" fact="0.113"/>
                <dgm:constr type="w" for="ch" forName="L2TextContainerWrapper" refType="w" fact="0.88"/>
                <dgm:constr type="h" for="ch" forName="L2TextContainerWrapper" refType="h" fact="0.31"/>
                <dgm:constr type="b" for="ch" forName="L2TextContainerWrapper" refType="h" fact="0.31"/>
                <dgm:constr type="l" for="ch" forName="L2TextContainerWrapper" refType="w" fact="0.06"/>
                <dgm:constr type="w" for="ch" forName="ConnectLine"/>
                <dgm:constr type="l" for="ch" forName="ConnectLine" refType="w" fact="0.5"/>
                <dgm:constr type="h" for="ch" forName="ConnectLine" refType="h" fact="0.17"/>
                <dgm:constr type="t" for="ch" forName="ConnectLine" refType="h" fact="0.31"/>
                <dgm:constr type="w" for="ch" forName="ConnectorPoint" refType="h" fact="0.025"/>
                <dgm:constr type="h" for="ch" forName="ConnectorPoint" refType="h" fact="0.025"/>
                <dgm:constr type="ctrX" for="ch" forName="ConnectorPoint" refType="w" fact="0.5"/>
                <dgm:constr type="ctrY" for="ch" forName="ConnectorPoint" refType="h" fact="0.5"/>
                <dgm:constr type="w" for="ch" forName="EmptyPlaceHolder" refType="w"/>
                <dgm:constr type="t" for="ch" forName="EmptyPlaceHolder" refType="h" fact="0.65"/>
                <dgm:constr type="h" for="ch" forName="EmptyPlaceHolder" refType="h" fact="0.35"/>
              </dgm:constrLst>
            </dgm:if>
            <dgm:else name="CaseForPlacingNodeBelowDivider">
              <dgm:constrLst>
                <dgm:constr type="w" for="ch" forName="L1TextContainer" refType="w" fact="0.8"/>
                <dgm:constr type="l" for="ch" forName="L1TextContainer" refType="w" fact="0.1"/>
                <dgm:constr type="t" for="ch" forName="L1TextContainer" refType="h" fact="0.35"/>
                <dgm:constr type="h" for="ch" forName="L1TextContainer" refType="h" fact="0.113"/>
                <dgm:constr type="w" for="ch" forName="L2TextContainerWrapper" refType="w" fact="0.88"/>
                <dgm:constr type="h" for="ch" forName="L2TextContainerWrapper" refType="h" fact="0.31"/>
                <dgm:constr type="t" for="ch" forName="L2TextContainerWrapper" refType="h" fact="0.69"/>
                <dgm:constr type="l" for="ch" forName="L2TextContainerWrapper" refType="w" fact="0.06"/>
                <dgm:constr type="w" for="ch" forName="ConnectLine"/>
                <dgm:constr type="l" for="ch" forName="ConnectLine" refType="w" fact="0.5"/>
                <dgm:constr type="h" for="ch" forName="ConnectLine" refType="h" fact="0.17"/>
                <dgm:constr type="t" for="ch" forName="ConnectLine" refType="h" fact="0.52"/>
                <dgm:constr type="w" for="ch" forName="ConnectorPoint" refType="h" fact="0.025"/>
                <dgm:constr type="h" for="ch" forName="ConnectorPoint" refType="h" fact="0.025"/>
                <dgm:constr type="ctrX" for="ch" forName="ConnectorPoint" refType="w" fact="0.5"/>
                <dgm:constr type="ctrY" for="ch" forName="ConnectorPoint" refType="h" fact="0.5"/>
                <dgm:constr type="w" for="ch" forName="EmptyPlaceHolder" refType="w"/>
                <dgm:constr type="h" for="ch" forName="EmptyPlaceHolder" refType="h" fact="0.35"/>
                <dgm:constr type="t" for="ch" forName="EmptyPlaceHolder" refType="h" fact="0"/>
              </dgm:constrLst>
            </dgm:else>
          </dgm:choose>
          <dgm:layoutNode name="L1TextContainer" styleLbl="revTx">
            <dgm:varLst>
              <dgm:chMax val="1"/>
              <dgm:chPref val="1"/>
              <dgm:bulletEnabled val="1"/>
            </dgm:varLst>
            <dgm:choose name="casesForTxtDirLogic">
              <dgm:if name="Name78" axis="self" ptType="node" func="posOdd" op="equ" val="1">
                <dgm:alg type="tx">
                  <dgm:param type="txAnchorHorz" val="ctr"/>
                  <dgm:param type="txAnchorVert" val="t"/>
                  <dgm:param type="parTxLTRAlign" val="ctr"/>
                  <dgm:param type="parTxRTLAlign" val="ctr"/>
                </dgm:alg>
              </dgm:if>
              <dgm:else name="Name89">
                <dgm:alg type="tx">
                  <dgm:param type="txAnchorHorz" val="ctr"/>
                  <dgm:param type="txAnchorVert" val="b"/>
                  <dgm:param type="parTxLTRAlign" val="ctr"/>
                  <dgm:param type="parTxRTLAlign" val="ctr"/>
                </dgm:alg>
              </dgm:else>
            </dgm:choose>
            <dgm:shape xmlns:r="http://schemas.openxmlformats.org/officeDocument/2006/relationships" type="rect" r:blip="">
              <dgm:adjLst/>
            </dgm:shape>
            <dgm:presOf axis="self"/>
            <dgm:constrLst>
              <dgm:constr type="lMarg"/>
              <dgm:constr type="rMarg"/>
              <dgm:constr type="tMarg"/>
              <dgm:constr type="bMarg"/>
            </dgm:constrLst>
            <dgm:ruleLst>
              <dgm:rule type="primFontSz" val="14" fact="NaN" max="NaN"/>
            </dgm:ruleLst>
          </dgm:layoutNode>
          <dgm:layoutNode name="L2TextContainerWrapper" styleLbl="bgAccFollowNode1">
            <dgm:varLst>
              <dgm:chMax val="0"/>
              <dgm:chPref val="0"/>
              <dgm:bulletEnabled val="1"/>
            </dgm:varLst>
            <dgm:alg type="composite"/>
            <dgm:choose name="L2TextContainerConstr">
              <dgm:if name="CaseForPlacingL2TextContaineAboveDivider" axis="self" ptType="node" func="posOdd" op="equ" val="1">
                <dgm:constrLst>
                  <dgm:constr type="h" for="ch" forName="L2TextContainer" refType="h" fact="0.45"/>
                  <dgm:constr type="b" for="ch" forName="L2TextContainer" refType="h"/>
                  <dgm:constr type="h" for="ch" forName="FlexibleEmptyPlaceHolder" refType="h" fact="0.55"/>
                </dgm:constrLst>
              </dgm:if>
              <dgm:else name="CaseForPlacingL2TextContaineBelowDivider">
                <dgm:constrLst>
                  <dgm:constr type="h" for="ch" forName="L2TextContainer" refType="h" fact="0.45"/>
                  <dgm:constr type="h" for="ch" forName="FlexibleEmptyPlaceHolder" refType="h" fact="0.55"/>
                  <dgm:constr type="b" for="ch" forName="FlexibleEmptyPlaceHolder" refType="h"/>
                </dgm:constrLst>
              </dgm:else>
            </dgm:choose>
            <dgm:layoutNode name="L2TextContainer" styleLbl="bgAccFollowNode1">
              <dgm:choose name="L2TextContainerAlgo">
                <dgm:if name="L2TextContainerAlgoLTR" func="var" arg="dir" op="equ" val="norm">
                  <dgm:alg type="tx">
                    <dgm:param type="txAnchorVert" val="mid"/>
                    <dgm:param type="parTxRTLAlign" val="l"/>
                    <dgm:param type="parTxLTRAlign" val="l"/>
                    <dgm:param type="txAnchorVertCh" val="mid"/>
                    <dgm:param type="shpTxRTLAlignCh" val="l"/>
                    <dgm:param type="shpTxLTRAlignCh" val="l"/>
                  </dgm:alg>
                </dgm:if>
                <dgm:else name="L2TextContainerAlgoRTL">
                  <dgm:alg type="tx">
                    <dgm:param type="txAnchorVert" val="mid"/>
                    <dgm:param type="parTxRTLAlign" val="r"/>
                    <dgm:param type="parTxLTRAlign" val="r"/>
                    <dgm:param type="txAnchorVertCh" val="mid"/>
                    <dgm:param type="shpTxRTLAlignCh" val="r"/>
                    <dgm:param type="shpTxLTRAlignCh" val="r"/>
                  </dgm:alg>
                </dgm:else>
              </dgm:choose>
              <dgm:shape xmlns:r="http://schemas.openxmlformats.org/officeDocument/2006/relationships" type="rect" r:blip="">
                <dgm:adjLst/>
              </dgm:shape>
              <dgm:presOf axis="des" ptType="node"/>
              <dgm:constrLst>
                <dgm:constr type="lMarg" refType="primFontSz" fact="0.75"/>
                <dgm:constr type="rMarg" refType="primFontSz" fact="0.75"/>
                <dgm:constr type="tMarg" refType="primFontSz" fact="0.75"/>
                <dgm:constr type="bMarg" refType="primFontSz" fact="0.75"/>
              </dgm:constrLst>
              <dgm:ruleLst>
                <dgm:rule type="h" val="INF" fact="NaN" max="NaN"/>
                <dgm:rule type="primFontSz" val="11" fact="NaN" max="NaN"/>
                <dgm:rule type="secFontSz" val="9" fact="NaN" max="NaN"/>
              </dgm:ruleLst>
            </dgm:layoutNode>
            <dgm:layoutNode name="FlexibleEmptyPlaceHolder">
              <dgm:alg type="sp"/>
              <dgm:shape xmlns:r="http://schemas.openxmlformats.org/officeDocument/2006/relationships" r:blip="">
                <dgm:adjLst/>
              </dgm:shape>
              <dgm:presOf/>
              <dgm:constrLst/>
            </dgm:layoutNode>
          </dgm:layoutNode>
          <dgm:layoutNode name="ConnectLine" styleLbl="alignNode1" moveWith="L2TextContainer">
            <dgm:alg type="sp"/>
            <dgm:shape xmlns:r="http://schemas.openxmlformats.org/officeDocument/2006/relationships" type="line" r:blip="" zOrderOff="-1">
              <dgm:adjLst/>
              <dgm:extLst>
                <a:ext uri="{B698B0E9-8C71-41B9-8309-B3DCBF30829C}">
                  <dgm1612:spPr xmlns:dgm1612="http://schemas.microsoft.com/office/drawing/2016/12/diagram">
                    <a:ln w="6350">
                      <a:prstDash val="dash"/>
                    </a:ln>
                  </dgm1612:spPr>
                </a:ext>
              </dgm:extLst>
            </dgm:shape>
            <dgm:presOf/>
            <dgm:constrLst/>
          </dgm:layoutNode>
          <dgm:layoutNode name="ConnectorPoint" styleLbl="fgAcc1" moveWith="L2TextContainer">
            <dgm:alg type="sp"/>
            <dgm:shape xmlns:r="http://schemas.openxmlformats.org/officeDocument/2006/relationships" type="ellipse" r:blip="" zOrderOff="10">
              <dgm:adjLst/>
              <dgm:extLst>
                <a:ext uri="{B698B0E9-8C71-41B9-8309-B3DCBF30829C}">
                  <dgm1612:spPr xmlns:dgm1612="http://schemas.microsoft.com/office/drawing/2016/12/diagram">
                    <a:ln>
                      <a:noFill/>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Node>
  <dgm:extLst>
    <a:ext uri="{68A01E43-0DF5-4B5B-8FA6-DAF915123BFB}">
      <dgm1612:lstStyle xmlns:dgm1612="http://schemas.microsoft.com/office/drawing/2016/12/diagram">
        <a:lvl1pPr>
          <a:defRPr b="1"/>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b="0" i="0">
                <a:latin typeface="Arial Narrow Regular" panose="020B0606020202030204" pitchFamily="34" charset="0"/>
              </a:defRPr>
            </a:lvl1pPr>
          </a:lstStyle>
          <a:p>
            <a:endParaRPr lang="en-US" dirty="0"/>
          </a:p>
        </p:txBody>
      </p:sp>
      <p:sp>
        <p:nvSpPr>
          <p:cNvPr id="3" name="Date Placeholder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b="0" i="0">
                <a:latin typeface="Arial Narrow Regular" panose="020B0606020202030204" pitchFamily="34" charset="0"/>
              </a:defRPr>
            </a:lvl1pPr>
          </a:lstStyle>
          <a:p>
            <a:fld id="{7A8F36CD-26A9-D449-B024-A3A5ECA0A2CA}" type="datetimeFigureOut">
              <a:rPr lang="en-US" smtClean="0"/>
              <a:pPr/>
              <a:t>7/28/2022</a:t>
            </a:fld>
            <a:endParaRPr lang="en-US" dirty="0"/>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b="0" i="0">
                <a:latin typeface="Arial Narrow Regular" panose="020B0606020202030204" pitchFamily="34" charset="0"/>
              </a:defRPr>
            </a:lvl1pPr>
          </a:lstStyle>
          <a:p>
            <a:endParaRPr lang="en-US" dirty="0"/>
          </a:p>
        </p:txBody>
      </p:sp>
      <p:sp>
        <p:nvSpPr>
          <p:cNvPr id="7" name="Slide Number Placeholder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b="0" i="0">
                <a:latin typeface="Arial Narrow Regular" panose="020B0606020202030204" pitchFamily="34" charset="0"/>
              </a:defRPr>
            </a:lvl1pPr>
          </a:lstStyle>
          <a:p>
            <a:fld id="{9A4FFC2A-AA23-2044-BB67-E1D6B94D20BD}" type="slidenum">
              <a:rPr lang="en-US" smtClean="0"/>
              <a:pPr/>
              <a:t>‹#›</a:t>
            </a:fld>
            <a:endParaRPr lang="en-US" dirty="0"/>
          </a:p>
        </p:txBody>
      </p:sp>
    </p:spTree>
    <p:extLst>
      <p:ext uri="{BB962C8B-B14F-4D97-AF65-F5344CB8AC3E}">
        <p14:creationId xmlns:p14="http://schemas.microsoft.com/office/powerpoint/2010/main" val="694449296"/>
      </p:ext>
    </p:extLst>
  </p:cSld>
  <p:clrMap bg1="lt1" tx1="dk1" bg2="lt2" tx2="dk2" accent1="accent1" accent2="accent2" accent3="accent3" accent4="accent4" accent5="accent5" accent6="accent6" hlink="hlink" folHlink="folHlink"/>
  <p:notesStyle>
    <a:lvl1pPr marL="0" algn="l" defTabSz="1219170" rtl="0" eaLnBrk="1" latinLnBrk="0" hangingPunct="1">
      <a:defRPr sz="1600" b="0" i="0" kern="1200">
        <a:solidFill>
          <a:schemeClr val="tx1"/>
        </a:solidFill>
        <a:latin typeface="Arial Narrow Regular" panose="020B0606020202030204" pitchFamily="34" charset="0"/>
        <a:ea typeface="+mn-ea"/>
        <a:cs typeface="+mn-cs"/>
      </a:defRPr>
    </a:lvl1pPr>
    <a:lvl2pPr marL="609585" algn="l" defTabSz="1219170" rtl="0" eaLnBrk="1" latinLnBrk="0" hangingPunct="1">
      <a:defRPr sz="1600" b="0" i="0" kern="1200">
        <a:solidFill>
          <a:schemeClr val="tx1"/>
        </a:solidFill>
        <a:latin typeface="Arial Narrow Regular" panose="020B0606020202030204" pitchFamily="34" charset="0"/>
        <a:ea typeface="+mn-ea"/>
        <a:cs typeface="+mn-cs"/>
      </a:defRPr>
    </a:lvl2pPr>
    <a:lvl3pPr marL="1219170" algn="l" defTabSz="1219170" rtl="0" eaLnBrk="1" latinLnBrk="0" hangingPunct="1">
      <a:defRPr sz="1600" b="0" i="0" kern="1200">
        <a:solidFill>
          <a:schemeClr val="tx1"/>
        </a:solidFill>
        <a:latin typeface="Arial Narrow Regular" panose="020B0606020202030204" pitchFamily="34" charset="0"/>
        <a:ea typeface="+mn-ea"/>
        <a:cs typeface="+mn-cs"/>
      </a:defRPr>
    </a:lvl3pPr>
    <a:lvl4pPr marL="1828754" algn="l" defTabSz="1219170" rtl="0" eaLnBrk="1" latinLnBrk="0" hangingPunct="1">
      <a:defRPr sz="1600" b="0" i="0" kern="1200">
        <a:solidFill>
          <a:schemeClr val="tx1"/>
        </a:solidFill>
        <a:latin typeface="Arial Narrow Regular" panose="020B0606020202030204" pitchFamily="34" charset="0"/>
        <a:ea typeface="+mn-ea"/>
        <a:cs typeface="+mn-cs"/>
      </a:defRPr>
    </a:lvl4pPr>
    <a:lvl5pPr marL="2438339" algn="l" defTabSz="1219170" rtl="0" eaLnBrk="1" latinLnBrk="0" hangingPunct="1">
      <a:defRPr sz="1600" b="0" i="0" kern="1200">
        <a:solidFill>
          <a:schemeClr val="tx1"/>
        </a:solidFill>
        <a:latin typeface="Arial Narrow Regular" panose="020B060602020203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a:t>
            </a:r>
            <a:r>
              <a:rPr lang="en-GB" baseline="0" dirty="0"/>
              <a:t> is the standard actual vs. fitted chart for a KPI</a:t>
            </a:r>
          </a:p>
          <a:p>
            <a:endParaRPr lang="en-GB" baseline="0" dirty="0"/>
          </a:p>
          <a:p>
            <a:r>
              <a:rPr lang="en-GB" baseline="0" dirty="0"/>
              <a:t>The actual line should be an orangey red as from the BrandScience colour palette. The fitted line should be pale blue so that the contrast is clear</a:t>
            </a:r>
          </a:p>
          <a:p>
            <a:endParaRPr lang="en-GB" baseline="0" dirty="0"/>
          </a:p>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D726AD3-CF9F-4C1E-9B0D-7E7F785DE32B}"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684866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Cover">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12191999" cy="6448636"/>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5" name="Text Placeholder 4">
            <a:extLst>
              <a:ext uri="{FF2B5EF4-FFF2-40B4-BE49-F238E27FC236}">
                <a16:creationId xmlns:a16="http://schemas.microsoft.com/office/drawing/2014/main" id="{7A970589-A288-D94E-9439-0C2AF5DCBDD4}"/>
              </a:ext>
            </a:extLst>
          </p:cNvPr>
          <p:cNvSpPr>
            <a:spLocks noGrp="1"/>
          </p:cNvSpPr>
          <p:nvPr>
            <p:ph type="body" sz="quarter" idx="15" hasCustomPrompt="1"/>
          </p:nvPr>
        </p:nvSpPr>
        <p:spPr>
          <a:xfrm>
            <a:off x="334840" y="2097025"/>
            <a:ext cx="11522320" cy="1962784"/>
          </a:xfrm>
        </p:spPr>
        <p:txBody>
          <a:bodyPr anchor="ctr">
            <a:normAutofit/>
          </a:bodyPr>
          <a:lstStyle>
            <a:lvl1pPr algn="ctr">
              <a:defRPr sz="8000" b="0" i="0">
                <a:solidFill>
                  <a:schemeClr val="bg1"/>
                </a:solidFill>
                <a:latin typeface="Oswald Light" panose="02000303000000000000" pitchFamily="2" charset="77"/>
              </a:defRPr>
            </a:lvl1pPr>
          </a:lstStyle>
          <a:p>
            <a:pPr lvl="0"/>
            <a:r>
              <a:rPr lang="en-US" dirty="0"/>
              <a:t>Presentation title here</a:t>
            </a:r>
          </a:p>
        </p:txBody>
      </p:sp>
      <p:sp>
        <p:nvSpPr>
          <p:cNvPr id="32" name="Text Placeholder 4">
            <a:extLst>
              <a:ext uri="{FF2B5EF4-FFF2-40B4-BE49-F238E27FC236}">
                <a16:creationId xmlns:a16="http://schemas.microsoft.com/office/drawing/2014/main" id="{75CAAF07-9B83-7A4D-8B8D-8BAA0BA0E8A5}"/>
              </a:ext>
            </a:extLst>
          </p:cNvPr>
          <p:cNvSpPr>
            <a:spLocks noGrp="1"/>
          </p:cNvSpPr>
          <p:nvPr>
            <p:ph type="body" sz="quarter" idx="16" hasCustomPrompt="1"/>
          </p:nvPr>
        </p:nvSpPr>
        <p:spPr>
          <a:xfrm>
            <a:off x="987552" y="3736784"/>
            <a:ext cx="10241280" cy="646050"/>
          </a:xfrm>
        </p:spPr>
        <p:txBody>
          <a:bodyPr anchor="ctr">
            <a:normAutofit/>
          </a:bodyPr>
          <a:lstStyle>
            <a:lvl1pPr algn="ctr">
              <a:defRPr sz="2200" b="1" i="0">
                <a:solidFill>
                  <a:schemeClr val="bg1"/>
                </a:solidFill>
                <a:latin typeface="Arial" panose="020B0604020202020204" pitchFamily="34" charset="0"/>
                <a:cs typeface="Arial" panose="020B0604020202020204" pitchFamily="34" charset="0"/>
              </a:defRPr>
            </a:lvl1pPr>
          </a:lstStyle>
          <a:p>
            <a:pPr lvl="0"/>
            <a:r>
              <a:rPr lang="en-US" dirty="0"/>
              <a:t>Date: XX / XX / XX</a:t>
            </a:r>
          </a:p>
        </p:txBody>
      </p:sp>
      <p:sp>
        <p:nvSpPr>
          <p:cNvPr id="33" name="Text Placeholder 4">
            <a:extLst>
              <a:ext uri="{FF2B5EF4-FFF2-40B4-BE49-F238E27FC236}">
                <a16:creationId xmlns:a16="http://schemas.microsoft.com/office/drawing/2014/main" id="{2C12395F-D974-714D-A88A-4E722B8CF921}"/>
              </a:ext>
            </a:extLst>
          </p:cNvPr>
          <p:cNvSpPr>
            <a:spLocks noGrp="1"/>
          </p:cNvSpPr>
          <p:nvPr>
            <p:ph type="body" sz="quarter" idx="17" hasCustomPrompt="1"/>
          </p:nvPr>
        </p:nvSpPr>
        <p:spPr>
          <a:xfrm>
            <a:off x="987552" y="5563722"/>
            <a:ext cx="10241280" cy="646050"/>
          </a:xfrm>
        </p:spPr>
        <p:txBody>
          <a:bodyPr anchor="ctr">
            <a:normAutofit/>
          </a:bodyPr>
          <a:lstStyle>
            <a:lvl1pPr algn="ctr">
              <a:defRPr sz="1800" b="0" i="0">
                <a:solidFill>
                  <a:schemeClr val="bg1"/>
                </a:solidFill>
                <a:latin typeface="Arial" panose="020B0604020202020204" pitchFamily="34" charset="0"/>
                <a:cs typeface="Arial" panose="020B0604020202020204" pitchFamily="34" charset="0"/>
              </a:defRPr>
            </a:lvl1pPr>
          </a:lstStyle>
          <a:p>
            <a:pPr lvl="0"/>
            <a:r>
              <a:rPr lang="en-US" dirty="0"/>
              <a:t>Presented by:</a:t>
            </a:r>
          </a:p>
        </p:txBody>
      </p:sp>
    </p:spTree>
    <p:extLst>
      <p:ext uri="{BB962C8B-B14F-4D97-AF65-F5344CB8AC3E}">
        <p14:creationId xmlns:p14="http://schemas.microsoft.com/office/powerpoint/2010/main" val="897001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0" name="Slide Number Placeholder 1">
            <a:extLst>
              <a:ext uri="{FF2B5EF4-FFF2-40B4-BE49-F238E27FC236}">
                <a16:creationId xmlns:a16="http://schemas.microsoft.com/office/drawing/2014/main" id="{B5512BC3-D170-1E4B-B6B7-6E8550CAB2F1}"/>
              </a:ext>
            </a:extLst>
          </p:cNvPr>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31" name="Footer Placeholder 1">
            <a:extLst>
              <a:ext uri="{FF2B5EF4-FFF2-40B4-BE49-F238E27FC236}">
                <a16:creationId xmlns:a16="http://schemas.microsoft.com/office/drawing/2014/main" id="{14A24E8B-FEEF-4B48-A8A4-08F1FE4CF2A0}"/>
              </a:ext>
            </a:extLst>
          </p:cNvPr>
          <p:cNvSpPr>
            <a:spLocks noGrp="1"/>
          </p:cNvSpPr>
          <p:nvPr>
            <p:ph type="ftr" sz="quarter" idx="14"/>
          </p:nvPr>
        </p:nvSpPr>
        <p:spPr>
          <a:xfrm>
            <a:off x="334840" y="6537084"/>
            <a:ext cx="4025949" cy="227333"/>
          </a:xfrm>
        </p:spPr>
        <p:txBody>
          <a:bodyPr/>
          <a:lstStyle/>
          <a:p>
            <a:endParaRPr lang="en-GB"/>
          </a:p>
        </p:txBody>
      </p:sp>
    </p:spTree>
    <p:extLst>
      <p:ext uri="{BB962C8B-B14F-4D97-AF65-F5344CB8AC3E}">
        <p14:creationId xmlns:p14="http://schemas.microsoft.com/office/powerpoint/2010/main" val="39219466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Background w/ Title &amp; Content">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12191999" cy="6448636"/>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11" name="Text Placeholder 6"/>
          <p:cNvSpPr>
            <a:spLocks noGrp="1"/>
          </p:cNvSpPr>
          <p:nvPr>
            <p:ph type="body" sz="quarter" idx="13"/>
          </p:nvPr>
        </p:nvSpPr>
        <p:spPr>
          <a:xfrm>
            <a:off x="334434" y="1623820"/>
            <a:ext cx="11522726" cy="4555723"/>
          </a:xfrm>
        </p:spPr>
        <p:txBody>
          <a:bodyPr/>
          <a:lstStyle/>
          <a:p>
            <a:pPr lvl="0"/>
            <a:r>
              <a:rPr lang="en-US"/>
              <a:t>Click to edit Master text styles</a:t>
            </a:r>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 name="Title 2">
            <a:extLst>
              <a:ext uri="{FF2B5EF4-FFF2-40B4-BE49-F238E27FC236}">
                <a16:creationId xmlns:a16="http://schemas.microsoft.com/office/drawing/2014/main" id="{85F2E019-E3C7-474B-B276-F1756867F17A}"/>
              </a:ext>
            </a:extLst>
          </p:cNvPr>
          <p:cNvSpPr>
            <a:spLocks noGrp="1"/>
          </p:cNvSpPr>
          <p:nvPr>
            <p:ph type="title" hasCustomPrompt="1"/>
          </p:nvPr>
        </p:nvSpPr>
        <p:spPr>
          <a:xfrm>
            <a:off x="334841" y="300381"/>
            <a:ext cx="11522319" cy="1323439"/>
          </a:xfrm>
        </p:spPr>
        <p:txBody>
          <a:bodyPr>
            <a:spAutoFit/>
          </a:bodyPr>
          <a:lstStyle>
            <a:lvl1pPr>
              <a:defRPr/>
            </a:lvl1pPr>
          </a:lstStyle>
          <a:p>
            <a:r>
              <a:rPr lang="en-US" dirty="0"/>
              <a:t>Click to edit Master title style</a:t>
            </a:r>
            <a:br>
              <a:rPr lang="en-US" dirty="0"/>
            </a:br>
            <a:r>
              <a:rPr lang="en-US" dirty="0"/>
              <a:t>Click to edit Master title style</a:t>
            </a:r>
            <a:endParaRPr lang="en-GB" dirty="0"/>
          </a:p>
        </p:txBody>
      </p:sp>
    </p:spTree>
    <p:extLst>
      <p:ext uri="{BB962C8B-B14F-4D97-AF65-F5344CB8AC3E}">
        <p14:creationId xmlns:p14="http://schemas.microsoft.com/office/powerpoint/2010/main" val="18352946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Background w/ Title">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12191999" cy="6448636"/>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 name="Title 2">
            <a:extLst>
              <a:ext uri="{FF2B5EF4-FFF2-40B4-BE49-F238E27FC236}">
                <a16:creationId xmlns:a16="http://schemas.microsoft.com/office/drawing/2014/main" id="{85F2E019-E3C7-474B-B276-F1756867F17A}"/>
              </a:ext>
            </a:extLst>
          </p:cNvPr>
          <p:cNvSpPr>
            <a:spLocks noGrp="1"/>
          </p:cNvSpPr>
          <p:nvPr>
            <p:ph type="title" hasCustomPrompt="1"/>
          </p:nvPr>
        </p:nvSpPr>
        <p:spPr>
          <a:xfrm>
            <a:off x="334841" y="300381"/>
            <a:ext cx="11522319" cy="1323439"/>
          </a:xfrm>
        </p:spPr>
        <p:txBody>
          <a:bodyPr>
            <a:spAutoFit/>
          </a:bodyPr>
          <a:lstStyle>
            <a:lvl1pPr>
              <a:defRPr/>
            </a:lvl1pPr>
          </a:lstStyle>
          <a:p>
            <a:r>
              <a:rPr lang="en-US" dirty="0"/>
              <a:t>Click to edit Master title style</a:t>
            </a:r>
            <a:br>
              <a:rPr lang="en-US" dirty="0"/>
            </a:br>
            <a:r>
              <a:rPr lang="en-US" dirty="0"/>
              <a:t>Click to edit Master title style</a:t>
            </a:r>
            <a:endParaRPr lang="en-GB" dirty="0"/>
          </a:p>
        </p:txBody>
      </p:sp>
    </p:spTree>
    <p:extLst>
      <p:ext uri="{BB962C8B-B14F-4D97-AF65-F5344CB8AC3E}">
        <p14:creationId xmlns:p14="http://schemas.microsoft.com/office/powerpoint/2010/main" val="18888955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Image/Colour">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12191999" cy="6448636"/>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Tree>
    <p:extLst>
      <p:ext uri="{BB962C8B-B14F-4D97-AF65-F5344CB8AC3E}">
        <p14:creationId xmlns:p14="http://schemas.microsoft.com/office/powerpoint/2010/main" val="3285848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x Image">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4994031" y="413468"/>
            <a:ext cx="7197969" cy="6035168"/>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FB388972-27D9-4941-BCB1-691F45590A90}"/>
              </a:ext>
            </a:extLst>
          </p:cNvPr>
          <p:cNvSpPr>
            <a:spLocks noGrp="1"/>
          </p:cNvSpPr>
          <p:nvPr>
            <p:ph type="title" hasCustomPrompt="1"/>
          </p:nvPr>
        </p:nvSpPr>
        <p:spPr>
          <a:xfrm>
            <a:off x="334842" y="300381"/>
            <a:ext cx="4524915" cy="1323439"/>
          </a:xfrm>
        </p:spPr>
        <p:txBody>
          <a:bodyPr wrap="square">
            <a:spAutoFit/>
          </a:bodyPr>
          <a:lstStyle>
            <a:lvl1pPr>
              <a:defRPr/>
            </a:lvl1pPr>
          </a:lstStyle>
          <a:p>
            <a:r>
              <a:rPr lang="en-US" dirty="0"/>
              <a:t>Click to edit </a:t>
            </a:r>
            <a:br>
              <a:rPr lang="en-US" dirty="0"/>
            </a:br>
            <a:r>
              <a:rPr lang="en-US" dirty="0"/>
              <a:t>Master title style</a:t>
            </a:r>
            <a:endParaRPr lang="en-GB" dirty="0"/>
          </a:p>
        </p:txBody>
      </p:sp>
      <p:sp>
        <p:nvSpPr>
          <p:cNvPr id="33" name="Text Placeholder 6">
            <a:extLst>
              <a:ext uri="{FF2B5EF4-FFF2-40B4-BE49-F238E27FC236}">
                <a16:creationId xmlns:a16="http://schemas.microsoft.com/office/drawing/2014/main" id="{9BD1920A-7BB8-6344-BE29-A405447CB0E6}"/>
              </a:ext>
            </a:extLst>
          </p:cNvPr>
          <p:cNvSpPr>
            <a:spLocks noGrp="1"/>
          </p:cNvSpPr>
          <p:nvPr>
            <p:ph type="body" sz="quarter" idx="13"/>
          </p:nvPr>
        </p:nvSpPr>
        <p:spPr>
          <a:xfrm>
            <a:off x="334434" y="1623820"/>
            <a:ext cx="4528968" cy="4555723"/>
          </a:xfrm>
        </p:spPr>
        <p:txBody>
          <a:bodyPr/>
          <a:lstStyle/>
          <a:p>
            <a:pPr lvl="0"/>
            <a:r>
              <a:rPr lang="en-US"/>
              <a:t>Click to edit Master text styles</a:t>
            </a:r>
          </a:p>
        </p:txBody>
      </p:sp>
    </p:spTree>
    <p:extLst>
      <p:ext uri="{BB962C8B-B14F-4D97-AF65-F5344CB8AC3E}">
        <p14:creationId xmlns:p14="http://schemas.microsoft.com/office/powerpoint/2010/main" val="13931958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x Image 2">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9061450" y="0"/>
            <a:ext cx="3130550" cy="6858000"/>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no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FB388972-27D9-4941-BCB1-691F45590A90}"/>
              </a:ext>
            </a:extLst>
          </p:cNvPr>
          <p:cNvSpPr>
            <a:spLocks noGrp="1"/>
          </p:cNvSpPr>
          <p:nvPr>
            <p:ph type="title" hasCustomPrompt="1"/>
          </p:nvPr>
        </p:nvSpPr>
        <p:spPr>
          <a:xfrm>
            <a:off x="334841" y="300381"/>
            <a:ext cx="8516187"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
        <p:nvSpPr>
          <p:cNvPr id="33" name="Text Placeholder 6">
            <a:extLst>
              <a:ext uri="{FF2B5EF4-FFF2-40B4-BE49-F238E27FC236}">
                <a16:creationId xmlns:a16="http://schemas.microsoft.com/office/drawing/2014/main" id="{9BD1920A-7BB8-6344-BE29-A405447CB0E6}"/>
              </a:ext>
            </a:extLst>
          </p:cNvPr>
          <p:cNvSpPr>
            <a:spLocks noGrp="1"/>
          </p:cNvSpPr>
          <p:nvPr>
            <p:ph type="body" sz="quarter" idx="13"/>
          </p:nvPr>
        </p:nvSpPr>
        <p:spPr>
          <a:xfrm>
            <a:off x="334434" y="1623820"/>
            <a:ext cx="8523816" cy="4555723"/>
          </a:xfrm>
        </p:spPr>
        <p:txBody>
          <a:bodyPr/>
          <a:lstStyle/>
          <a:p>
            <a:pPr lvl="0"/>
            <a:r>
              <a:rPr lang="en-US"/>
              <a:t>Click to edit Master text styles</a:t>
            </a:r>
          </a:p>
        </p:txBody>
      </p:sp>
    </p:spTree>
    <p:extLst>
      <p:ext uri="{BB962C8B-B14F-4D97-AF65-F5344CB8AC3E}">
        <p14:creationId xmlns:p14="http://schemas.microsoft.com/office/powerpoint/2010/main" val="28371391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 Image 3">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7052468" y="0"/>
            <a:ext cx="5139532" cy="6858000"/>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no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FB388972-27D9-4941-BCB1-691F45590A90}"/>
              </a:ext>
            </a:extLst>
          </p:cNvPr>
          <p:cNvSpPr>
            <a:spLocks noGrp="1"/>
          </p:cNvSpPr>
          <p:nvPr>
            <p:ph type="title" hasCustomPrompt="1"/>
          </p:nvPr>
        </p:nvSpPr>
        <p:spPr>
          <a:xfrm>
            <a:off x="334842" y="300381"/>
            <a:ext cx="6430450"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
        <p:nvSpPr>
          <p:cNvPr id="33" name="Text Placeholder 6">
            <a:extLst>
              <a:ext uri="{FF2B5EF4-FFF2-40B4-BE49-F238E27FC236}">
                <a16:creationId xmlns:a16="http://schemas.microsoft.com/office/drawing/2014/main" id="{9BD1920A-7BB8-6344-BE29-A405447CB0E6}"/>
              </a:ext>
            </a:extLst>
          </p:cNvPr>
          <p:cNvSpPr>
            <a:spLocks noGrp="1"/>
          </p:cNvSpPr>
          <p:nvPr>
            <p:ph type="body" sz="quarter" idx="13"/>
          </p:nvPr>
        </p:nvSpPr>
        <p:spPr>
          <a:xfrm>
            <a:off x="334435" y="1623820"/>
            <a:ext cx="6436210" cy="4555723"/>
          </a:xfrm>
        </p:spPr>
        <p:txBody>
          <a:bodyPr/>
          <a:lstStyle/>
          <a:p>
            <a:pPr lvl="0"/>
            <a:r>
              <a:rPr lang="en-US"/>
              <a:t>Click to edit Master text styles</a:t>
            </a:r>
          </a:p>
        </p:txBody>
      </p:sp>
    </p:spTree>
    <p:extLst>
      <p:ext uri="{BB962C8B-B14F-4D97-AF65-F5344CB8AC3E}">
        <p14:creationId xmlns:p14="http://schemas.microsoft.com/office/powerpoint/2010/main" val="25953857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Image 4">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344500" y="0"/>
            <a:ext cx="5746562" cy="6448636"/>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FB388972-27D9-4941-BCB1-691F45590A90}"/>
              </a:ext>
            </a:extLst>
          </p:cNvPr>
          <p:cNvSpPr>
            <a:spLocks noGrp="1"/>
          </p:cNvSpPr>
          <p:nvPr>
            <p:ph type="title" hasCustomPrompt="1"/>
          </p:nvPr>
        </p:nvSpPr>
        <p:spPr>
          <a:xfrm>
            <a:off x="6291652" y="300381"/>
            <a:ext cx="5569476"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
        <p:nvSpPr>
          <p:cNvPr id="33" name="Text Placeholder 6">
            <a:extLst>
              <a:ext uri="{FF2B5EF4-FFF2-40B4-BE49-F238E27FC236}">
                <a16:creationId xmlns:a16="http://schemas.microsoft.com/office/drawing/2014/main" id="{9BD1920A-7BB8-6344-BE29-A405447CB0E6}"/>
              </a:ext>
            </a:extLst>
          </p:cNvPr>
          <p:cNvSpPr>
            <a:spLocks noGrp="1"/>
          </p:cNvSpPr>
          <p:nvPr>
            <p:ph type="body" sz="quarter" idx="13"/>
          </p:nvPr>
        </p:nvSpPr>
        <p:spPr>
          <a:xfrm>
            <a:off x="6291244" y="1623820"/>
            <a:ext cx="5574465" cy="4555723"/>
          </a:xfrm>
        </p:spPr>
        <p:txBody>
          <a:bodyPr/>
          <a:lstStyle/>
          <a:p>
            <a:pPr lvl="0"/>
            <a:r>
              <a:rPr lang="en-US"/>
              <a:t>Click to edit Master text styles</a:t>
            </a:r>
          </a:p>
        </p:txBody>
      </p:sp>
    </p:spTree>
    <p:extLst>
      <p:ext uri="{BB962C8B-B14F-4D97-AF65-F5344CB8AC3E}">
        <p14:creationId xmlns:p14="http://schemas.microsoft.com/office/powerpoint/2010/main" val="41455439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nd out point – central">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solidFill>
            <a:schemeClr val="tx2"/>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3" name="Title 2">
            <a:extLst>
              <a:ext uri="{FF2B5EF4-FFF2-40B4-BE49-F238E27FC236}">
                <a16:creationId xmlns:a16="http://schemas.microsoft.com/office/drawing/2014/main" id="{70B84113-F30F-2A4B-8BA4-694CF40410E8}"/>
              </a:ext>
            </a:extLst>
          </p:cNvPr>
          <p:cNvSpPr>
            <a:spLocks noGrp="1"/>
          </p:cNvSpPr>
          <p:nvPr>
            <p:ph type="title" hasCustomPrompt="1"/>
          </p:nvPr>
        </p:nvSpPr>
        <p:spPr>
          <a:xfrm>
            <a:off x="4210295" y="1109540"/>
            <a:ext cx="3755536" cy="688256"/>
          </a:xfrm>
          <a:solidFill>
            <a:schemeClr val="bg2"/>
          </a:solidFill>
          <a:ln w="19050">
            <a:noFill/>
          </a:ln>
        </p:spPr>
        <p:txBody>
          <a:bodyPr wrap="square" lIns="36000" tIns="72000" rIns="36000" bIns="0" anchor="b">
            <a:spAutoFit/>
          </a:bodyPr>
          <a:lstStyle>
            <a:lvl1pPr algn="ctr">
              <a:defRPr sz="4000" b="1" i="0" spc="-150">
                <a:solidFill>
                  <a:schemeClr val="bg1"/>
                </a:solidFill>
                <a:latin typeface="Oswald" pitchFamily="2" charset="77"/>
              </a:defRPr>
            </a:lvl1pPr>
          </a:lstStyle>
          <a:p>
            <a:r>
              <a:rPr lang="en-US" dirty="0"/>
              <a:t>STAND OUT POINT</a:t>
            </a:r>
            <a:endParaRPr lang="en-GB" dirty="0"/>
          </a:p>
        </p:txBody>
      </p:sp>
      <p:sp>
        <p:nvSpPr>
          <p:cNvPr id="30" name="Text Placeholder 6">
            <a:extLst>
              <a:ext uri="{FF2B5EF4-FFF2-40B4-BE49-F238E27FC236}">
                <a16:creationId xmlns:a16="http://schemas.microsoft.com/office/drawing/2014/main" id="{6B31B993-BB6B-1140-99F0-E1E6E0AA1171}"/>
              </a:ext>
            </a:extLst>
          </p:cNvPr>
          <p:cNvSpPr>
            <a:spLocks noGrp="1"/>
          </p:cNvSpPr>
          <p:nvPr>
            <p:ph type="body" sz="quarter" idx="13" hasCustomPrompt="1"/>
          </p:nvPr>
        </p:nvSpPr>
        <p:spPr>
          <a:xfrm>
            <a:off x="461556" y="1797796"/>
            <a:ext cx="11268482" cy="4214770"/>
          </a:xfrm>
        </p:spPr>
        <p:txBody>
          <a:bodyPr>
            <a:noAutofit/>
          </a:bodyPr>
          <a:lstStyle>
            <a:lvl1pPr algn="ctr">
              <a:defRPr sz="4800" b="0" i="0">
                <a:solidFill>
                  <a:schemeClr val="bg1"/>
                </a:solidFill>
                <a:latin typeface="Oswald Light" pitchFamily="2" charset="77"/>
              </a:defRPr>
            </a:lvl1p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endParaRPr lang="en-GB" dirty="0"/>
          </a:p>
        </p:txBody>
      </p:sp>
    </p:spTree>
    <p:extLst>
      <p:ext uri="{BB962C8B-B14F-4D97-AF65-F5344CB8AC3E}">
        <p14:creationId xmlns:p14="http://schemas.microsoft.com/office/powerpoint/2010/main" val="28109762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and out point – 2 column">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solidFill>
            <a:schemeClr val="accent2"/>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6">
            <a:extLst>
              <a:ext uri="{FF2B5EF4-FFF2-40B4-BE49-F238E27FC236}">
                <a16:creationId xmlns:a16="http://schemas.microsoft.com/office/drawing/2014/main" id="{6B31B993-BB6B-1140-99F0-E1E6E0AA1171}"/>
              </a:ext>
            </a:extLst>
          </p:cNvPr>
          <p:cNvSpPr>
            <a:spLocks noGrp="1"/>
          </p:cNvSpPr>
          <p:nvPr>
            <p:ph type="body" sz="quarter" idx="13" hasCustomPrompt="1"/>
          </p:nvPr>
        </p:nvSpPr>
        <p:spPr>
          <a:xfrm>
            <a:off x="781472" y="1960003"/>
            <a:ext cx="4886662" cy="3947816"/>
          </a:xfrm>
        </p:spPr>
        <p:txBody>
          <a:bodyPr>
            <a:noAutofit/>
          </a:bodyPr>
          <a:lstStyle>
            <a:lvl1pPr algn="l">
              <a:defRPr sz="2800" b="0" i="0">
                <a:solidFill>
                  <a:schemeClr val="bg1"/>
                </a:solidFill>
                <a:latin typeface="Oswald Light" pitchFamily="2" charset="77"/>
              </a:defRPr>
            </a:lvl1p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endParaRPr lang="en-GB" dirty="0"/>
          </a:p>
        </p:txBody>
      </p:sp>
      <p:sp>
        <p:nvSpPr>
          <p:cNvPr id="32" name="Text Placeholder 6">
            <a:extLst>
              <a:ext uri="{FF2B5EF4-FFF2-40B4-BE49-F238E27FC236}">
                <a16:creationId xmlns:a16="http://schemas.microsoft.com/office/drawing/2014/main" id="{FA526308-9245-B843-809D-7639A5490705}"/>
              </a:ext>
            </a:extLst>
          </p:cNvPr>
          <p:cNvSpPr>
            <a:spLocks noGrp="1"/>
          </p:cNvSpPr>
          <p:nvPr>
            <p:ph type="body" sz="quarter" idx="15" hasCustomPrompt="1"/>
          </p:nvPr>
        </p:nvSpPr>
        <p:spPr>
          <a:xfrm>
            <a:off x="6523460" y="1960003"/>
            <a:ext cx="4886662" cy="3947816"/>
          </a:xfrm>
        </p:spPr>
        <p:txBody>
          <a:bodyPr>
            <a:noAutofit/>
          </a:bodyPr>
          <a:lstStyle>
            <a:lvl1pPr marL="313200" indent="-313200" algn="l">
              <a:buFont typeface="Arial" panose="020B0604020202020204" pitchFamily="34" charset="0"/>
              <a:buChar char="•"/>
              <a:defRPr sz="2800" b="0" i="0">
                <a:solidFill>
                  <a:schemeClr val="bg1"/>
                </a:solidFill>
                <a:latin typeface="Oswald Light" pitchFamily="2" charset="77"/>
              </a:defRPr>
            </a:lvl1pPr>
          </a:lstStyle>
          <a:p>
            <a:r>
              <a:rPr lang="en-US" dirty="0"/>
              <a:t>Lorem Ipsum is simply dummy text of the printing and typesetting industry. </a:t>
            </a:r>
          </a:p>
          <a:p>
            <a:r>
              <a:rPr lang="en-US" dirty="0"/>
              <a:t>Lorem Ipsum has been the industry's standard dummy text ever since the 1500s, when an unknown printer took a galley of type and scrambled it to make a type specimen book. </a:t>
            </a:r>
            <a:endParaRPr lang="en-GB" dirty="0"/>
          </a:p>
        </p:txBody>
      </p:sp>
      <p:cxnSp>
        <p:nvCxnSpPr>
          <p:cNvPr id="5" name="Straight Connector 4">
            <a:extLst>
              <a:ext uri="{FF2B5EF4-FFF2-40B4-BE49-F238E27FC236}">
                <a16:creationId xmlns:a16="http://schemas.microsoft.com/office/drawing/2014/main" id="{98A9EDDD-C366-C844-A1D7-7013ADE780B5}"/>
              </a:ext>
            </a:extLst>
          </p:cNvPr>
          <p:cNvCxnSpPr/>
          <p:nvPr userDrawn="1"/>
        </p:nvCxnSpPr>
        <p:spPr>
          <a:xfrm>
            <a:off x="6091062" y="1960003"/>
            <a:ext cx="0" cy="394781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itle 2">
            <a:extLst>
              <a:ext uri="{FF2B5EF4-FFF2-40B4-BE49-F238E27FC236}">
                <a16:creationId xmlns:a16="http://schemas.microsoft.com/office/drawing/2014/main" id="{44B1D51A-6A74-004A-AF44-FA388133C8A4}"/>
              </a:ext>
            </a:extLst>
          </p:cNvPr>
          <p:cNvSpPr>
            <a:spLocks noGrp="1"/>
          </p:cNvSpPr>
          <p:nvPr>
            <p:ph type="title" hasCustomPrompt="1"/>
          </p:nvPr>
        </p:nvSpPr>
        <p:spPr>
          <a:xfrm>
            <a:off x="781472" y="1109540"/>
            <a:ext cx="3579318" cy="688256"/>
          </a:xfrm>
          <a:solidFill>
            <a:schemeClr val="accent3"/>
          </a:solidFill>
          <a:ln w="19050">
            <a:noFill/>
          </a:ln>
        </p:spPr>
        <p:txBody>
          <a:bodyPr wrap="square" lIns="108000" tIns="72000" rIns="72000" bIns="0" anchor="b">
            <a:spAutoFit/>
          </a:bodyPr>
          <a:lstStyle>
            <a:lvl1pPr algn="l">
              <a:defRPr sz="4000" b="1" i="0" spc="-150">
                <a:solidFill>
                  <a:schemeClr val="bg1"/>
                </a:solidFill>
                <a:latin typeface="Oswald" pitchFamily="2" charset="77"/>
              </a:defRPr>
            </a:lvl1pPr>
          </a:lstStyle>
          <a:p>
            <a:r>
              <a:rPr lang="en-US" dirty="0"/>
              <a:t>STAND OUT POINT</a:t>
            </a:r>
            <a:endParaRPr lang="en-GB" dirty="0"/>
          </a:p>
        </p:txBody>
      </p:sp>
    </p:spTree>
    <p:extLst>
      <p:ext uri="{BB962C8B-B14F-4D97-AF65-F5344CB8AC3E}">
        <p14:creationId xmlns:p14="http://schemas.microsoft.com/office/powerpoint/2010/main" val="1047057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gradFill>
            <a:gsLst>
              <a:gs pos="100000">
                <a:schemeClr val="tx2"/>
              </a:gs>
              <a:gs pos="0">
                <a:schemeClr val="bg1"/>
              </a:gs>
              <a:gs pos="53000">
                <a:schemeClr val="bg2"/>
              </a:gs>
            </a:gsLst>
            <a:lin ang="2700000" scaled="1"/>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38">
            <a:extLst>
              <a:ext uri="{FF2B5EF4-FFF2-40B4-BE49-F238E27FC236}">
                <a16:creationId xmlns:a16="http://schemas.microsoft.com/office/drawing/2014/main" id="{3BF9A0A2-88F0-554E-A1CC-FA4F0250982C}"/>
              </a:ext>
            </a:extLst>
          </p:cNvPr>
          <p:cNvSpPr>
            <a:spLocks noGrp="1"/>
          </p:cNvSpPr>
          <p:nvPr>
            <p:ph type="body" sz="quarter" idx="15" hasCustomPrompt="1"/>
          </p:nvPr>
        </p:nvSpPr>
        <p:spPr>
          <a:xfrm>
            <a:off x="334841" y="3259225"/>
            <a:ext cx="11522320" cy="2604546"/>
          </a:xfrm>
        </p:spPr>
        <p:txBody>
          <a:bodyPr anchor="t">
            <a:normAutofit/>
          </a:bodyPr>
          <a:lstStyle>
            <a:lvl1pPr algn="l">
              <a:lnSpc>
                <a:spcPct val="80000"/>
              </a:lnSpc>
              <a:spcBef>
                <a:spcPts val="0"/>
              </a:spcBef>
              <a:defRPr lang="en-GB" sz="11000" b="0" i="0" kern="1200" cap="none" baseline="0" dirty="0">
                <a:solidFill>
                  <a:schemeClr val="bg1"/>
                </a:solidFill>
                <a:latin typeface="Oswald Light" pitchFamily="2" charset="77"/>
                <a:ea typeface="Arial" panose="020B0604020202020204" pitchFamily="34" charset="0"/>
                <a:cs typeface="Arial" panose="020B0604020202020204" pitchFamily="34" charset="0"/>
              </a:defRPr>
            </a:lvl1pPr>
          </a:lstStyle>
          <a:p>
            <a:pPr marL="0" marR="0" lvl="0" indent="0" algn="l" defTabSz="1219170" rtl="0" eaLnBrk="1" fontAlgn="auto" latinLnBrk="0" hangingPunct="1">
              <a:lnSpc>
                <a:spcPct val="80000"/>
              </a:lnSpc>
              <a:spcBef>
                <a:spcPts val="0"/>
              </a:spcBef>
              <a:spcAft>
                <a:spcPts val="0"/>
              </a:spcAft>
              <a:buClrTx/>
              <a:buSzTx/>
              <a:buFont typeface="Arial"/>
              <a:buNone/>
              <a:tabLst/>
            </a:pPr>
            <a:r>
              <a:rPr lang="en-GB" dirty="0"/>
              <a:t>Divider slide</a:t>
            </a:r>
          </a:p>
        </p:txBody>
      </p:sp>
      <p:sp>
        <p:nvSpPr>
          <p:cNvPr id="32" name="Text Placeholder 38">
            <a:extLst>
              <a:ext uri="{FF2B5EF4-FFF2-40B4-BE49-F238E27FC236}">
                <a16:creationId xmlns:a16="http://schemas.microsoft.com/office/drawing/2014/main" id="{139D9A37-0F8C-DD4E-A536-B7E0CF1E5BBA}"/>
              </a:ext>
            </a:extLst>
          </p:cNvPr>
          <p:cNvSpPr>
            <a:spLocks noGrp="1"/>
          </p:cNvSpPr>
          <p:nvPr>
            <p:ph type="body" sz="quarter" idx="13" hasCustomPrompt="1"/>
          </p:nvPr>
        </p:nvSpPr>
        <p:spPr>
          <a:xfrm>
            <a:off x="334840" y="620052"/>
            <a:ext cx="11522320" cy="2639173"/>
          </a:xfrm>
          <a:noFill/>
        </p:spPr>
        <p:txBody>
          <a:bodyPr anchor="b">
            <a:noAutofit/>
          </a:bodyPr>
          <a:lstStyle>
            <a:lvl1pPr algn="l">
              <a:spcBef>
                <a:spcPts val="0"/>
              </a:spcBef>
              <a:defRPr sz="15300" b="1" i="0" cap="all" baseline="0">
                <a:solidFill>
                  <a:schemeClr val="tx2"/>
                </a:solidFill>
                <a:latin typeface="Oswald Light" pitchFamily="2" charset="77"/>
              </a:defRPr>
            </a:lvl1pPr>
          </a:lstStyle>
          <a:p>
            <a:pPr lvl="0"/>
            <a:r>
              <a:rPr lang="en-GB" dirty="0"/>
              <a:t>01</a:t>
            </a:r>
          </a:p>
        </p:txBody>
      </p:sp>
      <p:sp>
        <p:nvSpPr>
          <p:cNvPr id="34" name="Text Placeholder 38">
            <a:extLst>
              <a:ext uri="{FF2B5EF4-FFF2-40B4-BE49-F238E27FC236}">
                <a16:creationId xmlns:a16="http://schemas.microsoft.com/office/drawing/2014/main" id="{EC29B1F2-A3E0-EE46-810D-04D9B1D59953}"/>
              </a:ext>
            </a:extLst>
          </p:cNvPr>
          <p:cNvSpPr>
            <a:spLocks noGrp="1"/>
          </p:cNvSpPr>
          <p:nvPr>
            <p:ph type="body" sz="quarter" idx="16" hasCustomPrompt="1"/>
          </p:nvPr>
        </p:nvSpPr>
        <p:spPr>
          <a:xfrm>
            <a:off x="334841" y="5863771"/>
            <a:ext cx="11522320" cy="380396"/>
          </a:xfrm>
        </p:spPr>
        <p:txBody>
          <a:bodyPr anchor="t">
            <a:noAutofit/>
          </a:bodyPr>
          <a:lstStyle>
            <a:lvl1pPr algn="l">
              <a:lnSpc>
                <a:spcPct val="90000"/>
              </a:lnSpc>
              <a:spcBef>
                <a:spcPts val="0"/>
              </a:spcBef>
              <a:defRPr lang="en-GB" sz="1600" b="0" i="0" kern="1200" cap="none" baseline="0" dirty="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1219170" rtl="0" eaLnBrk="1" latinLnBrk="0" hangingPunct="1">
              <a:lnSpc>
                <a:spcPct val="90000"/>
              </a:lnSpc>
              <a:spcBef>
                <a:spcPts val="0"/>
              </a:spcBef>
              <a:buFont typeface="Arial"/>
              <a:buNone/>
            </a:pPr>
            <a:r>
              <a:rPr lang="en-GB" dirty="0"/>
              <a:t>Sub point</a:t>
            </a:r>
          </a:p>
        </p:txBody>
      </p:sp>
    </p:spTree>
    <p:extLst>
      <p:ext uri="{BB962C8B-B14F-4D97-AF65-F5344CB8AC3E}">
        <p14:creationId xmlns:p14="http://schemas.microsoft.com/office/powerpoint/2010/main" val="34630741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tand out point – left">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solidFill>
            <a:schemeClr val="bg2"/>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6">
            <a:extLst>
              <a:ext uri="{FF2B5EF4-FFF2-40B4-BE49-F238E27FC236}">
                <a16:creationId xmlns:a16="http://schemas.microsoft.com/office/drawing/2014/main" id="{6B31B993-BB6B-1140-99F0-E1E6E0AA1171}"/>
              </a:ext>
            </a:extLst>
          </p:cNvPr>
          <p:cNvSpPr>
            <a:spLocks noGrp="1"/>
          </p:cNvSpPr>
          <p:nvPr>
            <p:ph type="body" sz="quarter" idx="13" hasCustomPrompt="1"/>
          </p:nvPr>
        </p:nvSpPr>
        <p:spPr>
          <a:xfrm>
            <a:off x="6030453" y="1581976"/>
            <a:ext cx="4948073" cy="3559415"/>
          </a:xfrm>
        </p:spPr>
        <p:txBody>
          <a:bodyPr>
            <a:noAutofit/>
          </a:bodyPr>
          <a:lstStyle>
            <a:lvl1pPr algn="l">
              <a:defRPr sz="2800" b="0" i="0">
                <a:solidFill>
                  <a:schemeClr val="bg1"/>
                </a:solidFill>
                <a:latin typeface="Oswald Light" pitchFamily="2" charset="77"/>
              </a:defRPr>
            </a:lvl1p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endParaRPr lang="en-GB" dirty="0"/>
          </a:p>
        </p:txBody>
      </p:sp>
      <p:sp>
        <p:nvSpPr>
          <p:cNvPr id="34" name="Title 2">
            <a:extLst>
              <a:ext uri="{FF2B5EF4-FFF2-40B4-BE49-F238E27FC236}">
                <a16:creationId xmlns:a16="http://schemas.microsoft.com/office/drawing/2014/main" id="{44B1D51A-6A74-004A-AF44-FA388133C8A4}"/>
              </a:ext>
            </a:extLst>
          </p:cNvPr>
          <p:cNvSpPr>
            <a:spLocks noGrp="1"/>
          </p:cNvSpPr>
          <p:nvPr>
            <p:ph type="title" hasCustomPrompt="1"/>
          </p:nvPr>
        </p:nvSpPr>
        <p:spPr>
          <a:xfrm>
            <a:off x="1462703" y="3410054"/>
            <a:ext cx="3766630" cy="811367"/>
          </a:xfrm>
          <a:solidFill>
            <a:schemeClr val="tx2"/>
          </a:solidFill>
          <a:ln w="19050">
            <a:noFill/>
          </a:ln>
        </p:spPr>
        <p:txBody>
          <a:bodyPr wrap="square" lIns="108000" tIns="72000" rIns="72000" bIns="0" anchor="b">
            <a:spAutoFit/>
          </a:bodyPr>
          <a:lstStyle>
            <a:lvl1pPr algn="l">
              <a:defRPr sz="4800" b="1" i="0" spc="-150">
                <a:solidFill>
                  <a:schemeClr val="bg1"/>
                </a:solidFill>
                <a:latin typeface="Oswald" pitchFamily="2" charset="77"/>
              </a:defRPr>
            </a:lvl1pPr>
          </a:lstStyle>
          <a:p>
            <a:r>
              <a:rPr lang="en-US" dirty="0"/>
              <a:t>DELETE OR ADD</a:t>
            </a:r>
            <a:endParaRPr lang="en-GB" dirty="0"/>
          </a:p>
        </p:txBody>
      </p:sp>
      <p:sp>
        <p:nvSpPr>
          <p:cNvPr id="6" name="Text Placeholder 5">
            <a:extLst>
              <a:ext uri="{FF2B5EF4-FFF2-40B4-BE49-F238E27FC236}">
                <a16:creationId xmlns:a16="http://schemas.microsoft.com/office/drawing/2014/main" id="{0AFA50C6-D2F0-E549-BDCA-F0370D5A228C}"/>
              </a:ext>
            </a:extLst>
          </p:cNvPr>
          <p:cNvSpPr>
            <a:spLocks noGrp="1"/>
          </p:cNvSpPr>
          <p:nvPr>
            <p:ph type="body" sz="quarter" idx="15" hasCustomPrompt="1"/>
          </p:nvPr>
        </p:nvSpPr>
        <p:spPr>
          <a:xfrm>
            <a:off x="1462089" y="1581976"/>
            <a:ext cx="3914710" cy="811367"/>
          </a:xfrm>
          <a:solidFill>
            <a:schemeClr val="tx2"/>
          </a:solidFill>
          <a:ln w="19050">
            <a:noFill/>
          </a:ln>
        </p:spPr>
        <p:txBody>
          <a:bodyPr vert="horz" wrap="square" lIns="108000" tIns="72000" rIns="72000" bIns="0" rtlCol="0" anchor="b">
            <a:spAutoFit/>
          </a:bodyPr>
          <a:lstStyle>
            <a:lvl1pPr>
              <a:defRPr lang="en-US" sz="4800" b="1" spc="-150" dirty="0" smtClean="0">
                <a:solidFill>
                  <a:schemeClr val="bg1"/>
                </a:solidFill>
                <a:latin typeface="Oswald" pitchFamily="2" charset="77"/>
                <a:ea typeface="+mj-ea"/>
                <a:cs typeface="Arial Narrow" panose="020B0604020202020204" pitchFamily="34" charset="0"/>
              </a:defRPr>
            </a:lvl1pPr>
            <a:lvl2pPr>
              <a:defRPr lang="en-US" dirty="0" smtClean="0">
                <a:latin typeface="Century Gothic" charset="0"/>
                <a:ea typeface="ＭＳ Ｐゴシック" charset="0"/>
                <a:cs typeface="ＭＳ Ｐゴシック" charset="0"/>
              </a:defRPr>
            </a:lvl2pPr>
            <a:lvl3pPr>
              <a:defRPr lang="en-US" dirty="0" smtClean="0">
                <a:latin typeface="Century Gothic" charset="0"/>
                <a:ea typeface="ＭＳ Ｐゴシック" charset="0"/>
                <a:cs typeface="ＭＳ Ｐゴシック" charset="0"/>
              </a:defRPr>
            </a:lvl3pPr>
            <a:lvl4pPr>
              <a:defRPr lang="en-US" dirty="0" smtClean="0">
                <a:latin typeface="Century Gothic" charset="0"/>
                <a:ea typeface="ＭＳ Ｐゴシック" charset="0"/>
                <a:cs typeface="ＭＳ Ｐゴシック" charset="0"/>
              </a:defRPr>
            </a:lvl4pPr>
            <a:lvl5pPr>
              <a:defRPr lang="en-US" dirty="0">
                <a:latin typeface="Century Gothic" charset="0"/>
                <a:ea typeface="ＭＳ Ｐゴシック" charset="0"/>
                <a:cs typeface="ＭＳ Ｐゴシック" charset="0"/>
              </a:defRPr>
            </a:lvl5pPr>
          </a:lstStyle>
          <a:p>
            <a:pPr lvl="0" fontAlgn="auto">
              <a:lnSpc>
                <a:spcPct val="100000"/>
              </a:lnSpc>
              <a:spcBef>
                <a:spcPct val="0"/>
              </a:spcBef>
              <a:spcAft>
                <a:spcPts val="0"/>
              </a:spcAft>
            </a:pPr>
            <a:r>
              <a:rPr lang="en-US" dirty="0"/>
              <a:t>KEEP EACH LINE</a:t>
            </a:r>
          </a:p>
        </p:txBody>
      </p:sp>
      <p:sp>
        <p:nvSpPr>
          <p:cNvPr id="37" name="Text Placeholder 5">
            <a:extLst>
              <a:ext uri="{FF2B5EF4-FFF2-40B4-BE49-F238E27FC236}">
                <a16:creationId xmlns:a16="http://schemas.microsoft.com/office/drawing/2014/main" id="{EC079E0B-7343-C44C-96ED-28CBB5ACC74D}"/>
              </a:ext>
            </a:extLst>
          </p:cNvPr>
          <p:cNvSpPr>
            <a:spLocks noGrp="1"/>
          </p:cNvSpPr>
          <p:nvPr>
            <p:ph type="body" sz="quarter" idx="16" hasCustomPrompt="1"/>
          </p:nvPr>
        </p:nvSpPr>
        <p:spPr>
          <a:xfrm>
            <a:off x="1462088" y="2496015"/>
            <a:ext cx="2898701" cy="811367"/>
          </a:xfrm>
          <a:solidFill>
            <a:schemeClr val="tx2"/>
          </a:solidFill>
          <a:ln w="19050">
            <a:noFill/>
          </a:ln>
        </p:spPr>
        <p:txBody>
          <a:bodyPr vert="horz" wrap="square" lIns="108000" tIns="72000" rIns="72000" bIns="0" rtlCol="0" anchor="b">
            <a:spAutoFit/>
          </a:bodyPr>
          <a:lstStyle>
            <a:lvl1pPr>
              <a:defRPr lang="en-US" sz="4800" b="1" spc="-150" dirty="0" smtClean="0">
                <a:solidFill>
                  <a:schemeClr val="bg1"/>
                </a:solidFill>
                <a:latin typeface="Oswald" pitchFamily="2" charset="77"/>
                <a:ea typeface="+mj-ea"/>
                <a:cs typeface="Arial Narrow" panose="020B0604020202020204" pitchFamily="34" charset="0"/>
              </a:defRPr>
            </a:lvl1pPr>
            <a:lvl2pPr>
              <a:defRPr lang="en-US" dirty="0" smtClean="0">
                <a:latin typeface="Century Gothic" charset="0"/>
                <a:ea typeface="ＭＳ Ｐゴシック" charset="0"/>
                <a:cs typeface="ＭＳ Ｐゴシック" charset="0"/>
              </a:defRPr>
            </a:lvl2pPr>
            <a:lvl3pPr>
              <a:defRPr lang="en-US" dirty="0" smtClean="0">
                <a:latin typeface="Century Gothic" charset="0"/>
                <a:ea typeface="ＭＳ Ｐゴシック" charset="0"/>
                <a:cs typeface="ＭＳ Ｐゴシック" charset="0"/>
              </a:defRPr>
            </a:lvl3pPr>
            <a:lvl4pPr>
              <a:defRPr lang="en-US" dirty="0" smtClean="0">
                <a:latin typeface="Century Gothic" charset="0"/>
                <a:ea typeface="ＭＳ Ｐゴシック" charset="0"/>
                <a:cs typeface="ＭＳ Ｐゴシック" charset="0"/>
              </a:defRPr>
            </a:lvl4pPr>
            <a:lvl5pPr>
              <a:defRPr lang="en-US" dirty="0">
                <a:latin typeface="Century Gothic" charset="0"/>
                <a:ea typeface="ＭＳ Ｐゴシック" charset="0"/>
                <a:cs typeface="ＭＳ Ｐゴシック" charset="0"/>
              </a:defRPr>
            </a:lvl5pPr>
          </a:lstStyle>
          <a:p>
            <a:pPr lvl="0" fontAlgn="auto">
              <a:lnSpc>
                <a:spcPct val="100000"/>
              </a:lnSpc>
              <a:spcBef>
                <a:spcPct val="0"/>
              </a:spcBef>
              <a:spcAft>
                <a:spcPts val="0"/>
              </a:spcAft>
            </a:pPr>
            <a:r>
              <a:rPr lang="en-US" dirty="0"/>
              <a:t>IN ONE BOX</a:t>
            </a:r>
          </a:p>
        </p:txBody>
      </p:sp>
      <p:sp>
        <p:nvSpPr>
          <p:cNvPr id="38" name="Text Placeholder 5">
            <a:extLst>
              <a:ext uri="{FF2B5EF4-FFF2-40B4-BE49-F238E27FC236}">
                <a16:creationId xmlns:a16="http://schemas.microsoft.com/office/drawing/2014/main" id="{1A25FF99-305F-E04B-B527-6B0F45506702}"/>
              </a:ext>
            </a:extLst>
          </p:cNvPr>
          <p:cNvSpPr>
            <a:spLocks noGrp="1"/>
          </p:cNvSpPr>
          <p:nvPr>
            <p:ph type="body" sz="quarter" idx="17" hasCustomPrompt="1"/>
          </p:nvPr>
        </p:nvSpPr>
        <p:spPr>
          <a:xfrm>
            <a:off x="1462089" y="4324093"/>
            <a:ext cx="3658488" cy="811367"/>
          </a:xfrm>
          <a:solidFill>
            <a:schemeClr val="tx2"/>
          </a:solidFill>
          <a:ln w="19050">
            <a:noFill/>
          </a:ln>
        </p:spPr>
        <p:txBody>
          <a:bodyPr vert="horz" wrap="square" lIns="108000" tIns="72000" rIns="72000" bIns="0" rtlCol="0" anchor="b">
            <a:spAutoFit/>
          </a:bodyPr>
          <a:lstStyle>
            <a:lvl1pPr>
              <a:defRPr lang="en-US" sz="4800" b="1" spc="-150" dirty="0" smtClean="0">
                <a:solidFill>
                  <a:schemeClr val="bg1"/>
                </a:solidFill>
                <a:latin typeface="Oswald" pitchFamily="2" charset="77"/>
                <a:ea typeface="+mj-ea"/>
                <a:cs typeface="Arial Narrow" panose="020B0604020202020204" pitchFamily="34" charset="0"/>
              </a:defRPr>
            </a:lvl1pPr>
            <a:lvl2pPr>
              <a:defRPr lang="en-US" dirty="0" smtClean="0">
                <a:latin typeface="Century Gothic" charset="0"/>
                <a:ea typeface="ＭＳ Ｐゴシック" charset="0"/>
                <a:cs typeface="ＭＳ Ｐゴシック" charset="0"/>
              </a:defRPr>
            </a:lvl2pPr>
            <a:lvl3pPr>
              <a:defRPr lang="en-US" dirty="0" smtClean="0">
                <a:latin typeface="Century Gothic" charset="0"/>
                <a:ea typeface="ＭＳ Ｐゴシック" charset="0"/>
                <a:cs typeface="ＭＳ Ｐゴシック" charset="0"/>
              </a:defRPr>
            </a:lvl3pPr>
            <a:lvl4pPr>
              <a:defRPr lang="en-US" dirty="0" smtClean="0">
                <a:latin typeface="Century Gothic" charset="0"/>
                <a:ea typeface="ＭＳ Ｐゴシック" charset="0"/>
                <a:cs typeface="ＭＳ Ｐゴシック" charset="0"/>
              </a:defRPr>
            </a:lvl4pPr>
            <a:lvl5pPr>
              <a:defRPr lang="en-US" dirty="0">
                <a:latin typeface="Century Gothic" charset="0"/>
                <a:ea typeface="ＭＳ Ｐゴシック" charset="0"/>
                <a:cs typeface="ＭＳ Ｐゴシック" charset="0"/>
              </a:defRPr>
            </a:lvl5pPr>
          </a:lstStyle>
          <a:p>
            <a:pPr lvl="0" fontAlgn="auto">
              <a:lnSpc>
                <a:spcPct val="100000"/>
              </a:lnSpc>
              <a:spcBef>
                <a:spcPct val="0"/>
              </a:spcBef>
              <a:spcAft>
                <a:spcPts val="0"/>
              </a:spcAft>
            </a:pPr>
            <a:r>
              <a:rPr lang="en-US" dirty="0"/>
              <a:t>AS NECESSARY</a:t>
            </a:r>
          </a:p>
        </p:txBody>
      </p:sp>
    </p:spTree>
    <p:extLst>
      <p:ext uri="{BB962C8B-B14F-4D97-AF65-F5344CB8AC3E}">
        <p14:creationId xmlns:p14="http://schemas.microsoft.com/office/powerpoint/2010/main" val="424158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nd out point – paragraph">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solidFill>
            <a:schemeClr val="accent1"/>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4" name="Title 2">
            <a:extLst>
              <a:ext uri="{FF2B5EF4-FFF2-40B4-BE49-F238E27FC236}">
                <a16:creationId xmlns:a16="http://schemas.microsoft.com/office/drawing/2014/main" id="{44B1D51A-6A74-004A-AF44-FA388133C8A4}"/>
              </a:ext>
            </a:extLst>
          </p:cNvPr>
          <p:cNvSpPr>
            <a:spLocks noGrp="1"/>
          </p:cNvSpPr>
          <p:nvPr>
            <p:ph type="title" hasCustomPrompt="1"/>
          </p:nvPr>
        </p:nvSpPr>
        <p:spPr>
          <a:xfrm>
            <a:off x="1264996" y="2271001"/>
            <a:ext cx="9320628" cy="996033"/>
          </a:xfrm>
          <a:solidFill>
            <a:schemeClr val="accent3"/>
          </a:solidFill>
          <a:ln w="19050">
            <a:noFill/>
          </a:ln>
        </p:spPr>
        <p:txBody>
          <a:bodyPr wrap="square" lIns="108000" tIns="72000" rIns="72000" bIns="0" anchor="b">
            <a:spAutoFit/>
          </a:bodyPr>
          <a:lstStyle>
            <a:lvl1pPr marL="0" marR="0" indent="0" algn="l" defTabSz="1219170" rtl="0" eaLnBrk="1" fontAlgn="auto" latinLnBrk="0" hangingPunct="1">
              <a:lnSpc>
                <a:spcPct val="100000"/>
              </a:lnSpc>
              <a:spcBef>
                <a:spcPct val="0"/>
              </a:spcBef>
              <a:spcAft>
                <a:spcPts val="0"/>
              </a:spcAft>
              <a:buClrTx/>
              <a:buSzTx/>
              <a:buFontTx/>
              <a:buNone/>
              <a:tabLst/>
              <a:defRPr sz="6000" b="1" i="0" spc="-150">
                <a:solidFill>
                  <a:schemeClr val="bg1"/>
                </a:solidFill>
                <a:latin typeface="Oswald" pitchFamily="2" charset="77"/>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en-US" dirty="0"/>
              <a:t>DELETE OR ADD AS NECESSARY</a:t>
            </a:r>
            <a:endParaRPr lang="en-GB" dirty="0"/>
          </a:p>
        </p:txBody>
      </p:sp>
      <p:sp>
        <p:nvSpPr>
          <p:cNvPr id="5" name="Text Placeholder 4">
            <a:extLst>
              <a:ext uri="{FF2B5EF4-FFF2-40B4-BE49-F238E27FC236}">
                <a16:creationId xmlns:a16="http://schemas.microsoft.com/office/drawing/2014/main" id="{5EB4AD3C-A8B0-C24A-B7BE-BE8F4DD7B469}"/>
              </a:ext>
            </a:extLst>
          </p:cNvPr>
          <p:cNvSpPr>
            <a:spLocks noGrp="1"/>
          </p:cNvSpPr>
          <p:nvPr>
            <p:ph type="body" sz="quarter" idx="15" hasCustomPrompt="1"/>
          </p:nvPr>
        </p:nvSpPr>
        <p:spPr>
          <a:xfrm>
            <a:off x="1264995" y="1184688"/>
            <a:ext cx="8513320" cy="996033"/>
          </a:xfrm>
          <a:solidFill>
            <a:schemeClr val="accent3"/>
          </a:solidFill>
          <a:ln w="19050">
            <a:noFill/>
          </a:ln>
        </p:spPr>
        <p:txBody>
          <a:bodyPr vert="horz" wrap="square" lIns="108000" tIns="72000" rIns="72000" bIns="0" rtlCol="0" anchor="b">
            <a:spAutoFit/>
          </a:bodyPr>
          <a:lstStyle>
            <a:lvl1pPr>
              <a:defRPr lang="en-US" sz="6000" b="1" spc="-150" dirty="0" smtClean="0">
                <a:solidFill>
                  <a:schemeClr val="bg1"/>
                </a:solidFill>
                <a:latin typeface="Oswald" pitchFamily="2" charset="77"/>
                <a:ea typeface="+mj-ea"/>
                <a:cs typeface="Arial Narrow" panose="020B0604020202020204" pitchFamily="34" charset="0"/>
              </a:defRPr>
            </a:lvl1pPr>
            <a:lvl2pPr>
              <a:defRPr lang="en-US" dirty="0" smtClean="0"/>
            </a:lvl2pPr>
            <a:lvl3pPr>
              <a:defRPr lang="en-US" dirty="0" smtClean="0"/>
            </a:lvl3pPr>
            <a:lvl4pPr>
              <a:defRPr lang="en-US" dirty="0" smtClean="0"/>
            </a:lvl4pPr>
            <a:lvl5pPr>
              <a:defRPr lang="en-US" dirty="0"/>
            </a:lvl5pPr>
          </a:lstStyle>
          <a:p>
            <a:pPr marR="0" lvl="0" fontAlgn="auto">
              <a:lnSpc>
                <a:spcPct val="100000"/>
              </a:lnSpc>
              <a:spcBef>
                <a:spcPct val="0"/>
              </a:spcBef>
              <a:spcAft>
                <a:spcPts val="0"/>
              </a:spcAft>
              <a:buClrTx/>
              <a:buSzTx/>
              <a:buFontTx/>
              <a:tabLst/>
            </a:pPr>
            <a:r>
              <a:rPr lang="en-US" dirty="0"/>
              <a:t>KEEP EACH LINE IN ONE BOX</a:t>
            </a:r>
          </a:p>
        </p:txBody>
      </p:sp>
      <p:sp>
        <p:nvSpPr>
          <p:cNvPr id="39" name="Text Placeholder 4">
            <a:extLst>
              <a:ext uri="{FF2B5EF4-FFF2-40B4-BE49-F238E27FC236}">
                <a16:creationId xmlns:a16="http://schemas.microsoft.com/office/drawing/2014/main" id="{512355F1-4396-7542-B731-A310CE46F242}"/>
              </a:ext>
            </a:extLst>
          </p:cNvPr>
          <p:cNvSpPr>
            <a:spLocks noGrp="1"/>
          </p:cNvSpPr>
          <p:nvPr>
            <p:ph type="body" sz="quarter" idx="16" hasCustomPrompt="1"/>
          </p:nvPr>
        </p:nvSpPr>
        <p:spPr>
          <a:xfrm>
            <a:off x="1264995" y="3357314"/>
            <a:ext cx="8513320" cy="996033"/>
          </a:xfrm>
          <a:solidFill>
            <a:schemeClr val="accent3"/>
          </a:solidFill>
          <a:ln w="19050">
            <a:noFill/>
          </a:ln>
        </p:spPr>
        <p:txBody>
          <a:bodyPr vert="horz" wrap="square" lIns="108000" tIns="72000" rIns="72000" bIns="0" rtlCol="0" anchor="b">
            <a:spAutoFit/>
          </a:bodyPr>
          <a:lstStyle>
            <a:lvl1pPr>
              <a:defRPr lang="en-US" sz="6000" b="1" spc="-150" dirty="0" smtClean="0">
                <a:solidFill>
                  <a:schemeClr val="bg1"/>
                </a:solidFill>
                <a:latin typeface="Oswald" pitchFamily="2" charset="77"/>
                <a:ea typeface="+mj-ea"/>
                <a:cs typeface="Arial Narrow" panose="020B0604020202020204" pitchFamily="34" charset="0"/>
              </a:defRPr>
            </a:lvl1pPr>
            <a:lvl2pPr>
              <a:defRPr lang="en-US" dirty="0" smtClean="0"/>
            </a:lvl2pPr>
            <a:lvl3pPr>
              <a:defRPr lang="en-US" dirty="0" smtClean="0"/>
            </a:lvl3pPr>
            <a:lvl4pPr>
              <a:defRPr lang="en-US" dirty="0" smtClean="0"/>
            </a:lvl4pPr>
            <a:lvl5pPr>
              <a:defRPr lang="en-US" dirty="0"/>
            </a:lvl5pPr>
          </a:lstStyle>
          <a:p>
            <a:pPr marR="0" lvl="0" fontAlgn="auto">
              <a:lnSpc>
                <a:spcPct val="100000"/>
              </a:lnSpc>
              <a:spcBef>
                <a:spcPct val="0"/>
              </a:spcBef>
              <a:spcAft>
                <a:spcPts val="0"/>
              </a:spcAft>
              <a:buClrTx/>
              <a:buSzTx/>
              <a:buFontTx/>
              <a:tabLst/>
            </a:pPr>
            <a:r>
              <a:rPr lang="en-US" dirty="0"/>
              <a:t>KEEP EACH LINE IN ONE BOX</a:t>
            </a:r>
          </a:p>
        </p:txBody>
      </p:sp>
      <p:sp>
        <p:nvSpPr>
          <p:cNvPr id="41" name="Text Placeholder 4">
            <a:extLst>
              <a:ext uri="{FF2B5EF4-FFF2-40B4-BE49-F238E27FC236}">
                <a16:creationId xmlns:a16="http://schemas.microsoft.com/office/drawing/2014/main" id="{A2AAA583-26DA-554B-A59D-149F737DC1B8}"/>
              </a:ext>
            </a:extLst>
          </p:cNvPr>
          <p:cNvSpPr>
            <a:spLocks noGrp="1"/>
          </p:cNvSpPr>
          <p:nvPr>
            <p:ph type="body" sz="quarter" idx="17" hasCustomPrompt="1"/>
          </p:nvPr>
        </p:nvSpPr>
        <p:spPr>
          <a:xfrm>
            <a:off x="1264995" y="4443627"/>
            <a:ext cx="9320628" cy="996033"/>
          </a:xfrm>
          <a:solidFill>
            <a:schemeClr val="accent3"/>
          </a:solidFill>
          <a:ln w="19050">
            <a:noFill/>
          </a:ln>
        </p:spPr>
        <p:txBody>
          <a:bodyPr vert="horz" wrap="square" lIns="108000" tIns="72000" rIns="72000" bIns="0" rtlCol="0" anchor="b">
            <a:spAutoFit/>
          </a:bodyPr>
          <a:lstStyle>
            <a:lvl1pPr>
              <a:defRPr lang="en-US" sz="6000" b="1" spc="-150" dirty="0" smtClean="0">
                <a:solidFill>
                  <a:schemeClr val="bg1"/>
                </a:solidFill>
                <a:latin typeface="Oswald" pitchFamily="2" charset="77"/>
                <a:ea typeface="+mj-ea"/>
                <a:cs typeface="Arial Narrow" panose="020B0604020202020204" pitchFamily="34" charset="0"/>
              </a:defRPr>
            </a:lvl1pPr>
            <a:lvl2pPr>
              <a:defRPr lang="en-US" dirty="0" smtClean="0"/>
            </a:lvl2pPr>
            <a:lvl3pPr>
              <a:defRPr lang="en-US" dirty="0" smtClean="0"/>
            </a:lvl3pPr>
            <a:lvl4pPr>
              <a:defRPr lang="en-US" dirty="0" smtClean="0"/>
            </a:lvl4pPr>
            <a:lvl5pPr>
              <a:defRPr lang="en-US" dirty="0"/>
            </a:lvl5pPr>
          </a:lstStyle>
          <a:p>
            <a:pPr marR="0" lvl="0" fontAlgn="auto">
              <a:lnSpc>
                <a:spcPct val="100000"/>
              </a:lnSpc>
              <a:spcBef>
                <a:spcPct val="0"/>
              </a:spcBef>
              <a:spcAft>
                <a:spcPts val="0"/>
              </a:spcAft>
              <a:buClrTx/>
              <a:buSzTx/>
              <a:buFontTx/>
              <a:tabLst/>
            </a:pPr>
            <a:r>
              <a:rPr lang="en-US" dirty="0"/>
              <a:t>DELETE OR ADD AS NECESSARY</a:t>
            </a:r>
          </a:p>
        </p:txBody>
      </p:sp>
    </p:spTree>
    <p:extLst>
      <p:ext uri="{BB962C8B-B14F-4D97-AF65-F5344CB8AC3E}">
        <p14:creationId xmlns:p14="http://schemas.microsoft.com/office/powerpoint/2010/main" val="33293106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5" name="Picture Placeholder 30">
            <a:extLst>
              <a:ext uri="{FF2B5EF4-FFF2-40B4-BE49-F238E27FC236}">
                <a16:creationId xmlns:a16="http://schemas.microsoft.com/office/drawing/2014/main" id="{53C22227-B125-0142-9EDC-61895E61C073}"/>
              </a:ext>
            </a:extLst>
          </p:cNvPr>
          <p:cNvSpPr>
            <a:spLocks noGrp="1"/>
          </p:cNvSpPr>
          <p:nvPr>
            <p:ph type="pic" sz="quarter" idx="10" hasCustomPrompt="1"/>
          </p:nvPr>
        </p:nvSpPr>
        <p:spPr>
          <a:xfrm>
            <a:off x="0" y="0"/>
            <a:ext cx="12191999" cy="6448636"/>
          </a:xfrm>
          <a:prstGeom prst="rect">
            <a:avLst/>
          </a:prstGeom>
          <a:solidFill>
            <a:schemeClr val="accent3"/>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6">
            <a:extLst>
              <a:ext uri="{FF2B5EF4-FFF2-40B4-BE49-F238E27FC236}">
                <a16:creationId xmlns:a16="http://schemas.microsoft.com/office/drawing/2014/main" id="{6B31B993-BB6B-1140-99F0-E1E6E0AA1171}"/>
              </a:ext>
            </a:extLst>
          </p:cNvPr>
          <p:cNvSpPr>
            <a:spLocks noGrp="1"/>
          </p:cNvSpPr>
          <p:nvPr>
            <p:ph type="body" sz="quarter" idx="13" hasCustomPrompt="1"/>
          </p:nvPr>
        </p:nvSpPr>
        <p:spPr>
          <a:xfrm>
            <a:off x="1462274" y="1960003"/>
            <a:ext cx="9251578" cy="3200394"/>
          </a:xfrm>
        </p:spPr>
        <p:txBody>
          <a:bodyPr>
            <a:noAutofit/>
          </a:bodyPr>
          <a:lstStyle>
            <a:lvl1pPr algn="l">
              <a:defRPr sz="3600" b="0" i="0">
                <a:solidFill>
                  <a:schemeClr val="bg1"/>
                </a:solidFill>
                <a:latin typeface="Oswald Light" pitchFamily="2" charset="77"/>
              </a:defRPr>
            </a:lvl1p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endParaRPr lang="en-GB" dirty="0"/>
          </a:p>
        </p:txBody>
      </p:sp>
      <p:sp>
        <p:nvSpPr>
          <p:cNvPr id="8" name="Freeform 7">
            <a:extLst>
              <a:ext uri="{FF2B5EF4-FFF2-40B4-BE49-F238E27FC236}">
                <a16:creationId xmlns:a16="http://schemas.microsoft.com/office/drawing/2014/main" id="{59EF797A-ADE9-9448-AE11-4A98650D9839}"/>
              </a:ext>
            </a:extLst>
          </p:cNvPr>
          <p:cNvSpPr/>
          <p:nvPr/>
        </p:nvSpPr>
        <p:spPr>
          <a:xfrm>
            <a:off x="1462274" y="858741"/>
            <a:ext cx="1163827" cy="947908"/>
          </a:xfrm>
          <a:custGeom>
            <a:avLst/>
            <a:gdLst>
              <a:gd name="connsiteX0" fmla="*/ 3807 w 666222"/>
              <a:gd name="connsiteY0" fmla="*/ 334140 h 542620"/>
              <a:gd name="connsiteX1" fmla="*/ 59960 w 666222"/>
              <a:gd name="connsiteY1" fmla="*/ 79013 h 542620"/>
              <a:gd name="connsiteX2" fmla="*/ 237936 w 666222"/>
              <a:gd name="connsiteY2" fmla="*/ 0 h 542620"/>
              <a:gd name="connsiteX3" fmla="*/ 260778 w 666222"/>
              <a:gd name="connsiteY3" fmla="*/ 99005 h 542620"/>
              <a:gd name="connsiteX4" fmla="*/ 166556 w 666222"/>
              <a:gd name="connsiteY4" fmla="*/ 144699 h 542620"/>
              <a:gd name="connsiteX5" fmla="*/ 142762 w 666222"/>
              <a:gd name="connsiteY5" fmla="*/ 273214 h 542620"/>
              <a:gd name="connsiteX6" fmla="*/ 277910 w 666222"/>
              <a:gd name="connsiteY6" fmla="*/ 273214 h 542620"/>
              <a:gd name="connsiteX7" fmla="*/ 277910 w 666222"/>
              <a:gd name="connsiteY7" fmla="*/ 550237 h 542620"/>
              <a:gd name="connsiteX8" fmla="*/ 0 w 666222"/>
              <a:gd name="connsiteY8" fmla="*/ 550237 h 542620"/>
              <a:gd name="connsiteX9" fmla="*/ 3807 w 666222"/>
              <a:gd name="connsiteY9" fmla="*/ 334140 h 542620"/>
              <a:gd name="connsiteX10" fmla="*/ 400685 w 666222"/>
              <a:gd name="connsiteY10" fmla="*/ 334140 h 542620"/>
              <a:gd name="connsiteX11" fmla="*/ 456838 w 666222"/>
              <a:gd name="connsiteY11" fmla="*/ 79013 h 542620"/>
              <a:gd name="connsiteX12" fmla="*/ 634814 w 666222"/>
              <a:gd name="connsiteY12" fmla="*/ 0 h 542620"/>
              <a:gd name="connsiteX13" fmla="*/ 657656 w 666222"/>
              <a:gd name="connsiteY13" fmla="*/ 99005 h 542620"/>
              <a:gd name="connsiteX14" fmla="*/ 563434 w 666222"/>
              <a:gd name="connsiteY14" fmla="*/ 144699 h 542620"/>
              <a:gd name="connsiteX15" fmla="*/ 539640 w 666222"/>
              <a:gd name="connsiteY15" fmla="*/ 273214 h 542620"/>
              <a:gd name="connsiteX16" fmla="*/ 674788 w 666222"/>
              <a:gd name="connsiteY16" fmla="*/ 273214 h 542620"/>
              <a:gd name="connsiteX17" fmla="*/ 674788 w 666222"/>
              <a:gd name="connsiteY17" fmla="*/ 550237 h 542620"/>
              <a:gd name="connsiteX18" fmla="*/ 395926 w 666222"/>
              <a:gd name="connsiteY18" fmla="*/ 550237 h 542620"/>
              <a:gd name="connsiteX19" fmla="*/ 400685 w 666222"/>
              <a:gd name="connsiteY19" fmla="*/ 334140 h 5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66222" h="542620">
                <a:moveTo>
                  <a:pt x="3807" y="334140"/>
                </a:moveTo>
                <a:cubicBezTo>
                  <a:pt x="7614" y="217048"/>
                  <a:pt x="26649" y="131371"/>
                  <a:pt x="59960" y="79013"/>
                </a:cubicBezTo>
                <a:cubicBezTo>
                  <a:pt x="93271" y="25703"/>
                  <a:pt x="153231" y="0"/>
                  <a:pt x="237936" y="0"/>
                </a:cubicBezTo>
                <a:lnTo>
                  <a:pt x="260778" y="99005"/>
                </a:lnTo>
                <a:cubicBezTo>
                  <a:pt x="214143" y="99956"/>
                  <a:pt x="182735" y="115188"/>
                  <a:pt x="166556" y="144699"/>
                </a:cubicBezTo>
                <a:cubicBezTo>
                  <a:pt x="150376" y="174210"/>
                  <a:pt x="142762" y="217048"/>
                  <a:pt x="142762" y="273214"/>
                </a:cubicBezTo>
                <a:lnTo>
                  <a:pt x="277910" y="273214"/>
                </a:lnTo>
                <a:lnTo>
                  <a:pt x="277910" y="550237"/>
                </a:lnTo>
                <a:lnTo>
                  <a:pt x="0" y="550237"/>
                </a:lnTo>
                <a:cubicBezTo>
                  <a:pt x="0" y="488359"/>
                  <a:pt x="952" y="416961"/>
                  <a:pt x="3807" y="334140"/>
                </a:cubicBezTo>
                <a:close/>
                <a:moveTo>
                  <a:pt x="400685" y="334140"/>
                </a:moveTo>
                <a:cubicBezTo>
                  <a:pt x="404492" y="217048"/>
                  <a:pt x="423527" y="131371"/>
                  <a:pt x="456838" y="79013"/>
                </a:cubicBezTo>
                <a:cubicBezTo>
                  <a:pt x="490149" y="25703"/>
                  <a:pt x="550109" y="0"/>
                  <a:pt x="634814" y="0"/>
                </a:cubicBezTo>
                <a:lnTo>
                  <a:pt x="657656" y="99005"/>
                </a:lnTo>
                <a:cubicBezTo>
                  <a:pt x="611021" y="99956"/>
                  <a:pt x="579613" y="115188"/>
                  <a:pt x="563434" y="144699"/>
                </a:cubicBezTo>
                <a:cubicBezTo>
                  <a:pt x="547254" y="174210"/>
                  <a:pt x="539640" y="217048"/>
                  <a:pt x="539640" y="273214"/>
                </a:cubicBezTo>
                <a:lnTo>
                  <a:pt x="674788" y="273214"/>
                </a:lnTo>
                <a:lnTo>
                  <a:pt x="674788" y="550237"/>
                </a:lnTo>
                <a:lnTo>
                  <a:pt x="395926" y="550237"/>
                </a:lnTo>
                <a:cubicBezTo>
                  <a:pt x="396878" y="488359"/>
                  <a:pt x="397830" y="416961"/>
                  <a:pt x="400685" y="334140"/>
                </a:cubicBezTo>
                <a:close/>
              </a:path>
            </a:pathLst>
          </a:custGeom>
          <a:solidFill>
            <a:schemeClr val="accent1"/>
          </a:solidFill>
          <a:ln w="9514" cap="flat">
            <a:noFill/>
            <a:prstDash val="solid"/>
            <a:miter/>
          </a:ln>
        </p:spPr>
        <p:txBody>
          <a:bodyPr rtlCol="0" anchor="ctr"/>
          <a:lstStyle/>
          <a:p>
            <a:endParaRPr lang="en-US"/>
          </a:p>
        </p:txBody>
      </p:sp>
      <p:sp>
        <p:nvSpPr>
          <p:cNvPr id="34" name="Text Placeholder 6">
            <a:extLst>
              <a:ext uri="{FF2B5EF4-FFF2-40B4-BE49-F238E27FC236}">
                <a16:creationId xmlns:a16="http://schemas.microsoft.com/office/drawing/2014/main" id="{24E3A51C-B70B-D447-9D1D-AC43FB0A930A}"/>
              </a:ext>
            </a:extLst>
          </p:cNvPr>
          <p:cNvSpPr>
            <a:spLocks noGrp="1"/>
          </p:cNvSpPr>
          <p:nvPr>
            <p:ph type="body" sz="quarter" idx="15" hasCustomPrompt="1"/>
          </p:nvPr>
        </p:nvSpPr>
        <p:spPr>
          <a:xfrm>
            <a:off x="1462274" y="5160397"/>
            <a:ext cx="9251578" cy="657143"/>
          </a:xfrm>
        </p:spPr>
        <p:txBody>
          <a:bodyPr>
            <a:noAutofit/>
          </a:bodyPr>
          <a:lstStyle>
            <a:lvl1pPr algn="l">
              <a:spcBef>
                <a:spcPts val="0"/>
              </a:spcBef>
              <a:defRPr sz="1600" b="1" i="0">
                <a:solidFill>
                  <a:schemeClr val="bg1"/>
                </a:solidFill>
                <a:latin typeface="Arial" panose="020B0604020202020204" pitchFamily="34" charset="0"/>
                <a:cs typeface="Arial" panose="020B0604020202020204" pitchFamily="34" charset="0"/>
              </a:defRPr>
            </a:lvl1pPr>
          </a:lstStyle>
          <a:p>
            <a:r>
              <a:rPr lang="en-US" dirty="0"/>
              <a:t>FIRSTNAME LASTNAME,</a:t>
            </a:r>
          </a:p>
          <a:p>
            <a:r>
              <a:rPr lang="en-US" dirty="0"/>
              <a:t>ORGANISATION</a:t>
            </a:r>
            <a:endParaRPr lang="en-GB" dirty="0"/>
          </a:p>
        </p:txBody>
      </p:sp>
    </p:spTree>
    <p:extLst>
      <p:ext uri="{BB962C8B-B14F-4D97-AF65-F5344CB8AC3E}">
        <p14:creationId xmlns:p14="http://schemas.microsoft.com/office/powerpoint/2010/main" val="38439450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slide 2">
    <p:spTree>
      <p:nvGrpSpPr>
        <p:cNvPr id="1" name=""/>
        <p:cNvGrpSpPr/>
        <p:nvPr/>
      </p:nvGrpSpPr>
      <p:grpSpPr>
        <a:xfrm>
          <a:off x="0" y="0"/>
          <a:ext cx="0" cy="0"/>
          <a:chOff x="0" y="0"/>
          <a:chExt cx="0" cy="0"/>
        </a:xfrm>
      </p:grpSpPr>
      <p:sp>
        <p:nvSpPr>
          <p:cNvPr id="35" name="Picture Placeholder 30">
            <a:extLst>
              <a:ext uri="{FF2B5EF4-FFF2-40B4-BE49-F238E27FC236}">
                <a16:creationId xmlns:a16="http://schemas.microsoft.com/office/drawing/2014/main" id="{53C22227-B125-0142-9EDC-61895E61C073}"/>
              </a:ext>
            </a:extLst>
          </p:cNvPr>
          <p:cNvSpPr>
            <a:spLocks noGrp="1"/>
          </p:cNvSpPr>
          <p:nvPr>
            <p:ph type="pic" sz="quarter" idx="10" hasCustomPrompt="1"/>
          </p:nvPr>
        </p:nvSpPr>
        <p:spPr>
          <a:xfrm>
            <a:off x="0" y="0"/>
            <a:ext cx="12191999" cy="6448636"/>
          </a:xfrm>
          <a:prstGeom prst="rect">
            <a:avLst/>
          </a:prstGeom>
          <a:solidFill>
            <a:schemeClr val="tx2"/>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6">
            <a:extLst>
              <a:ext uri="{FF2B5EF4-FFF2-40B4-BE49-F238E27FC236}">
                <a16:creationId xmlns:a16="http://schemas.microsoft.com/office/drawing/2014/main" id="{6B31B993-BB6B-1140-99F0-E1E6E0AA1171}"/>
              </a:ext>
            </a:extLst>
          </p:cNvPr>
          <p:cNvSpPr>
            <a:spLocks noGrp="1"/>
          </p:cNvSpPr>
          <p:nvPr>
            <p:ph type="body" sz="quarter" idx="13" hasCustomPrompt="1"/>
          </p:nvPr>
        </p:nvSpPr>
        <p:spPr>
          <a:xfrm>
            <a:off x="1462274" y="1960003"/>
            <a:ext cx="9251578" cy="3200394"/>
          </a:xfrm>
        </p:spPr>
        <p:txBody>
          <a:bodyPr>
            <a:noAutofit/>
          </a:bodyPr>
          <a:lstStyle>
            <a:lvl1pPr algn="l">
              <a:defRPr sz="3600" b="0" i="0">
                <a:solidFill>
                  <a:schemeClr val="bg1"/>
                </a:solidFill>
                <a:latin typeface="Oswald Light" pitchFamily="2" charset="77"/>
              </a:defRPr>
            </a:lvl1p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endParaRPr lang="en-GB" dirty="0"/>
          </a:p>
        </p:txBody>
      </p:sp>
      <p:sp>
        <p:nvSpPr>
          <p:cNvPr id="8" name="Freeform 7">
            <a:extLst>
              <a:ext uri="{FF2B5EF4-FFF2-40B4-BE49-F238E27FC236}">
                <a16:creationId xmlns:a16="http://schemas.microsoft.com/office/drawing/2014/main" id="{59EF797A-ADE9-9448-AE11-4A98650D9839}"/>
              </a:ext>
            </a:extLst>
          </p:cNvPr>
          <p:cNvSpPr/>
          <p:nvPr/>
        </p:nvSpPr>
        <p:spPr>
          <a:xfrm>
            <a:off x="1462274" y="858741"/>
            <a:ext cx="1163827" cy="947908"/>
          </a:xfrm>
          <a:custGeom>
            <a:avLst/>
            <a:gdLst>
              <a:gd name="connsiteX0" fmla="*/ 3807 w 666222"/>
              <a:gd name="connsiteY0" fmla="*/ 334140 h 542620"/>
              <a:gd name="connsiteX1" fmla="*/ 59960 w 666222"/>
              <a:gd name="connsiteY1" fmla="*/ 79013 h 542620"/>
              <a:gd name="connsiteX2" fmla="*/ 237936 w 666222"/>
              <a:gd name="connsiteY2" fmla="*/ 0 h 542620"/>
              <a:gd name="connsiteX3" fmla="*/ 260778 w 666222"/>
              <a:gd name="connsiteY3" fmla="*/ 99005 h 542620"/>
              <a:gd name="connsiteX4" fmla="*/ 166556 w 666222"/>
              <a:gd name="connsiteY4" fmla="*/ 144699 h 542620"/>
              <a:gd name="connsiteX5" fmla="*/ 142762 w 666222"/>
              <a:gd name="connsiteY5" fmla="*/ 273214 h 542620"/>
              <a:gd name="connsiteX6" fmla="*/ 277910 w 666222"/>
              <a:gd name="connsiteY6" fmla="*/ 273214 h 542620"/>
              <a:gd name="connsiteX7" fmla="*/ 277910 w 666222"/>
              <a:gd name="connsiteY7" fmla="*/ 550237 h 542620"/>
              <a:gd name="connsiteX8" fmla="*/ 0 w 666222"/>
              <a:gd name="connsiteY8" fmla="*/ 550237 h 542620"/>
              <a:gd name="connsiteX9" fmla="*/ 3807 w 666222"/>
              <a:gd name="connsiteY9" fmla="*/ 334140 h 542620"/>
              <a:gd name="connsiteX10" fmla="*/ 400685 w 666222"/>
              <a:gd name="connsiteY10" fmla="*/ 334140 h 542620"/>
              <a:gd name="connsiteX11" fmla="*/ 456838 w 666222"/>
              <a:gd name="connsiteY11" fmla="*/ 79013 h 542620"/>
              <a:gd name="connsiteX12" fmla="*/ 634814 w 666222"/>
              <a:gd name="connsiteY12" fmla="*/ 0 h 542620"/>
              <a:gd name="connsiteX13" fmla="*/ 657656 w 666222"/>
              <a:gd name="connsiteY13" fmla="*/ 99005 h 542620"/>
              <a:gd name="connsiteX14" fmla="*/ 563434 w 666222"/>
              <a:gd name="connsiteY14" fmla="*/ 144699 h 542620"/>
              <a:gd name="connsiteX15" fmla="*/ 539640 w 666222"/>
              <a:gd name="connsiteY15" fmla="*/ 273214 h 542620"/>
              <a:gd name="connsiteX16" fmla="*/ 674788 w 666222"/>
              <a:gd name="connsiteY16" fmla="*/ 273214 h 542620"/>
              <a:gd name="connsiteX17" fmla="*/ 674788 w 666222"/>
              <a:gd name="connsiteY17" fmla="*/ 550237 h 542620"/>
              <a:gd name="connsiteX18" fmla="*/ 395926 w 666222"/>
              <a:gd name="connsiteY18" fmla="*/ 550237 h 542620"/>
              <a:gd name="connsiteX19" fmla="*/ 400685 w 666222"/>
              <a:gd name="connsiteY19" fmla="*/ 334140 h 5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66222" h="542620">
                <a:moveTo>
                  <a:pt x="3807" y="334140"/>
                </a:moveTo>
                <a:cubicBezTo>
                  <a:pt x="7614" y="217048"/>
                  <a:pt x="26649" y="131371"/>
                  <a:pt x="59960" y="79013"/>
                </a:cubicBezTo>
                <a:cubicBezTo>
                  <a:pt x="93271" y="25703"/>
                  <a:pt x="153231" y="0"/>
                  <a:pt x="237936" y="0"/>
                </a:cubicBezTo>
                <a:lnTo>
                  <a:pt x="260778" y="99005"/>
                </a:lnTo>
                <a:cubicBezTo>
                  <a:pt x="214143" y="99956"/>
                  <a:pt x="182735" y="115188"/>
                  <a:pt x="166556" y="144699"/>
                </a:cubicBezTo>
                <a:cubicBezTo>
                  <a:pt x="150376" y="174210"/>
                  <a:pt x="142762" y="217048"/>
                  <a:pt x="142762" y="273214"/>
                </a:cubicBezTo>
                <a:lnTo>
                  <a:pt x="277910" y="273214"/>
                </a:lnTo>
                <a:lnTo>
                  <a:pt x="277910" y="550237"/>
                </a:lnTo>
                <a:lnTo>
                  <a:pt x="0" y="550237"/>
                </a:lnTo>
                <a:cubicBezTo>
                  <a:pt x="0" y="488359"/>
                  <a:pt x="952" y="416961"/>
                  <a:pt x="3807" y="334140"/>
                </a:cubicBezTo>
                <a:close/>
                <a:moveTo>
                  <a:pt x="400685" y="334140"/>
                </a:moveTo>
                <a:cubicBezTo>
                  <a:pt x="404492" y="217048"/>
                  <a:pt x="423527" y="131371"/>
                  <a:pt x="456838" y="79013"/>
                </a:cubicBezTo>
                <a:cubicBezTo>
                  <a:pt x="490149" y="25703"/>
                  <a:pt x="550109" y="0"/>
                  <a:pt x="634814" y="0"/>
                </a:cubicBezTo>
                <a:lnTo>
                  <a:pt x="657656" y="99005"/>
                </a:lnTo>
                <a:cubicBezTo>
                  <a:pt x="611021" y="99956"/>
                  <a:pt x="579613" y="115188"/>
                  <a:pt x="563434" y="144699"/>
                </a:cubicBezTo>
                <a:cubicBezTo>
                  <a:pt x="547254" y="174210"/>
                  <a:pt x="539640" y="217048"/>
                  <a:pt x="539640" y="273214"/>
                </a:cubicBezTo>
                <a:lnTo>
                  <a:pt x="674788" y="273214"/>
                </a:lnTo>
                <a:lnTo>
                  <a:pt x="674788" y="550237"/>
                </a:lnTo>
                <a:lnTo>
                  <a:pt x="395926" y="550237"/>
                </a:lnTo>
                <a:cubicBezTo>
                  <a:pt x="396878" y="488359"/>
                  <a:pt x="397830" y="416961"/>
                  <a:pt x="400685" y="334140"/>
                </a:cubicBezTo>
                <a:close/>
              </a:path>
            </a:pathLst>
          </a:custGeom>
          <a:solidFill>
            <a:schemeClr val="bg2"/>
          </a:solidFill>
          <a:ln w="9514" cap="flat">
            <a:noFill/>
            <a:prstDash val="solid"/>
            <a:miter/>
          </a:ln>
        </p:spPr>
        <p:txBody>
          <a:bodyPr rtlCol="0" anchor="ctr"/>
          <a:lstStyle/>
          <a:p>
            <a:endParaRPr lang="en-US">
              <a:solidFill>
                <a:schemeClr val="tx2"/>
              </a:solidFill>
            </a:endParaRPr>
          </a:p>
        </p:txBody>
      </p:sp>
      <p:sp>
        <p:nvSpPr>
          <p:cNvPr id="34" name="Text Placeholder 6">
            <a:extLst>
              <a:ext uri="{FF2B5EF4-FFF2-40B4-BE49-F238E27FC236}">
                <a16:creationId xmlns:a16="http://schemas.microsoft.com/office/drawing/2014/main" id="{24E3A51C-B70B-D447-9D1D-AC43FB0A930A}"/>
              </a:ext>
            </a:extLst>
          </p:cNvPr>
          <p:cNvSpPr>
            <a:spLocks noGrp="1"/>
          </p:cNvSpPr>
          <p:nvPr>
            <p:ph type="body" sz="quarter" idx="15" hasCustomPrompt="1"/>
          </p:nvPr>
        </p:nvSpPr>
        <p:spPr>
          <a:xfrm>
            <a:off x="1462274" y="5160397"/>
            <a:ext cx="9251578" cy="657143"/>
          </a:xfrm>
        </p:spPr>
        <p:txBody>
          <a:bodyPr>
            <a:noAutofit/>
          </a:bodyPr>
          <a:lstStyle>
            <a:lvl1pPr algn="l">
              <a:spcBef>
                <a:spcPts val="0"/>
              </a:spcBef>
              <a:defRPr sz="1600" b="1" i="0">
                <a:solidFill>
                  <a:schemeClr val="bg1"/>
                </a:solidFill>
                <a:latin typeface="Arial" panose="020B0604020202020204" pitchFamily="34" charset="0"/>
                <a:cs typeface="Arial" panose="020B0604020202020204" pitchFamily="34" charset="0"/>
              </a:defRPr>
            </a:lvl1pPr>
          </a:lstStyle>
          <a:p>
            <a:r>
              <a:rPr lang="en-US" dirty="0"/>
              <a:t>FIRSTNAME LASTNAME,</a:t>
            </a:r>
          </a:p>
          <a:p>
            <a:r>
              <a:rPr lang="en-US" dirty="0"/>
              <a:t>ORGANISATION</a:t>
            </a:r>
            <a:endParaRPr lang="en-GB" dirty="0"/>
          </a:p>
        </p:txBody>
      </p:sp>
    </p:spTree>
    <p:extLst>
      <p:ext uri="{BB962C8B-B14F-4D97-AF65-F5344CB8AC3E}">
        <p14:creationId xmlns:p14="http://schemas.microsoft.com/office/powerpoint/2010/main" val="28381833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slide 3">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FB388972-27D9-4941-BCB1-691F45590A90}"/>
              </a:ext>
            </a:extLst>
          </p:cNvPr>
          <p:cNvSpPr>
            <a:spLocks noGrp="1"/>
          </p:cNvSpPr>
          <p:nvPr>
            <p:ph type="title" hasCustomPrompt="1"/>
          </p:nvPr>
        </p:nvSpPr>
        <p:spPr>
          <a:xfrm>
            <a:off x="334842" y="300381"/>
            <a:ext cx="11522316"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
        <p:nvSpPr>
          <p:cNvPr id="33" name="Text Placeholder 6">
            <a:extLst>
              <a:ext uri="{FF2B5EF4-FFF2-40B4-BE49-F238E27FC236}">
                <a16:creationId xmlns:a16="http://schemas.microsoft.com/office/drawing/2014/main" id="{9BD1920A-7BB8-6344-BE29-A405447CB0E6}"/>
              </a:ext>
            </a:extLst>
          </p:cNvPr>
          <p:cNvSpPr>
            <a:spLocks noGrp="1"/>
          </p:cNvSpPr>
          <p:nvPr>
            <p:ph type="body" sz="quarter" idx="13"/>
          </p:nvPr>
        </p:nvSpPr>
        <p:spPr>
          <a:xfrm>
            <a:off x="334434" y="1623820"/>
            <a:ext cx="5658272" cy="4555723"/>
          </a:xfrm>
        </p:spPr>
        <p:txBody>
          <a:bodyPr/>
          <a:lstStyle/>
          <a:p>
            <a:pPr lvl="0"/>
            <a:r>
              <a:rPr lang="en-US"/>
              <a:t>Click to edit Master text styles</a:t>
            </a:r>
          </a:p>
        </p:txBody>
      </p:sp>
      <p:sp>
        <p:nvSpPr>
          <p:cNvPr id="30" name="Text Placeholder 6">
            <a:extLst>
              <a:ext uri="{FF2B5EF4-FFF2-40B4-BE49-F238E27FC236}">
                <a16:creationId xmlns:a16="http://schemas.microsoft.com/office/drawing/2014/main" id="{A2896DEF-6534-924C-9127-55B9EF023072}"/>
              </a:ext>
            </a:extLst>
          </p:cNvPr>
          <p:cNvSpPr>
            <a:spLocks noGrp="1"/>
          </p:cNvSpPr>
          <p:nvPr>
            <p:ph type="body" sz="quarter" idx="15" hasCustomPrompt="1"/>
          </p:nvPr>
        </p:nvSpPr>
        <p:spPr>
          <a:xfrm>
            <a:off x="6334945" y="2435542"/>
            <a:ext cx="5522213" cy="2932277"/>
          </a:xfrm>
        </p:spPr>
        <p:txBody>
          <a:bodyPr>
            <a:noAutofit/>
          </a:bodyPr>
          <a:lstStyle>
            <a:lvl1pPr algn="l">
              <a:defRPr sz="2800" b="0" i="0">
                <a:solidFill>
                  <a:schemeClr val="tx1"/>
                </a:solidFill>
                <a:latin typeface="Oswald Light" pitchFamily="2" charset="77"/>
              </a:defRPr>
            </a:lvl1p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endParaRPr lang="en-GB" dirty="0"/>
          </a:p>
        </p:txBody>
      </p:sp>
      <p:sp>
        <p:nvSpPr>
          <p:cNvPr id="34" name="Freeform 33">
            <a:extLst>
              <a:ext uri="{FF2B5EF4-FFF2-40B4-BE49-F238E27FC236}">
                <a16:creationId xmlns:a16="http://schemas.microsoft.com/office/drawing/2014/main" id="{8736984F-5F09-3144-9BF7-030034B841B3}"/>
              </a:ext>
            </a:extLst>
          </p:cNvPr>
          <p:cNvSpPr/>
          <p:nvPr userDrawn="1"/>
        </p:nvSpPr>
        <p:spPr>
          <a:xfrm>
            <a:off x="6334946" y="1643405"/>
            <a:ext cx="813278" cy="662395"/>
          </a:xfrm>
          <a:custGeom>
            <a:avLst/>
            <a:gdLst>
              <a:gd name="connsiteX0" fmla="*/ 3807 w 666222"/>
              <a:gd name="connsiteY0" fmla="*/ 334140 h 542620"/>
              <a:gd name="connsiteX1" fmla="*/ 59960 w 666222"/>
              <a:gd name="connsiteY1" fmla="*/ 79013 h 542620"/>
              <a:gd name="connsiteX2" fmla="*/ 237936 w 666222"/>
              <a:gd name="connsiteY2" fmla="*/ 0 h 542620"/>
              <a:gd name="connsiteX3" fmla="*/ 260778 w 666222"/>
              <a:gd name="connsiteY3" fmla="*/ 99005 h 542620"/>
              <a:gd name="connsiteX4" fmla="*/ 166556 w 666222"/>
              <a:gd name="connsiteY4" fmla="*/ 144699 h 542620"/>
              <a:gd name="connsiteX5" fmla="*/ 142762 w 666222"/>
              <a:gd name="connsiteY5" fmla="*/ 273214 h 542620"/>
              <a:gd name="connsiteX6" fmla="*/ 277910 w 666222"/>
              <a:gd name="connsiteY6" fmla="*/ 273214 h 542620"/>
              <a:gd name="connsiteX7" fmla="*/ 277910 w 666222"/>
              <a:gd name="connsiteY7" fmla="*/ 550237 h 542620"/>
              <a:gd name="connsiteX8" fmla="*/ 0 w 666222"/>
              <a:gd name="connsiteY8" fmla="*/ 550237 h 542620"/>
              <a:gd name="connsiteX9" fmla="*/ 3807 w 666222"/>
              <a:gd name="connsiteY9" fmla="*/ 334140 h 542620"/>
              <a:gd name="connsiteX10" fmla="*/ 400685 w 666222"/>
              <a:gd name="connsiteY10" fmla="*/ 334140 h 542620"/>
              <a:gd name="connsiteX11" fmla="*/ 456838 w 666222"/>
              <a:gd name="connsiteY11" fmla="*/ 79013 h 542620"/>
              <a:gd name="connsiteX12" fmla="*/ 634814 w 666222"/>
              <a:gd name="connsiteY12" fmla="*/ 0 h 542620"/>
              <a:gd name="connsiteX13" fmla="*/ 657656 w 666222"/>
              <a:gd name="connsiteY13" fmla="*/ 99005 h 542620"/>
              <a:gd name="connsiteX14" fmla="*/ 563434 w 666222"/>
              <a:gd name="connsiteY14" fmla="*/ 144699 h 542620"/>
              <a:gd name="connsiteX15" fmla="*/ 539640 w 666222"/>
              <a:gd name="connsiteY15" fmla="*/ 273214 h 542620"/>
              <a:gd name="connsiteX16" fmla="*/ 674788 w 666222"/>
              <a:gd name="connsiteY16" fmla="*/ 273214 h 542620"/>
              <a:gd name="connsiteX17" fmla="*/ 674788 w 666222"/>
              <a:gd name="connsiteY17" fmla="*/ 550237 h 542620"/>
              <a:gd name="connsiteX18" fmla="*/ 395926 w 666222"/>
              <a:gd name="connsiteY18" fmla="*/ 550237 h 542620"/>
              <a:gd name="connsiteX19" fmla="*/ 400685 w 666222"/>
              <a:gd name="connsiteY19" fmla="*/ 334140 h 5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66222" h="542620">
                <a:moveTo>
                  <a:pt x="3807" y="334140"/>
                </a:moveTo>
                <a:cubicBezTo>
                  <a:pt x="7614" y="217048"/>
                  <a:pt x="26649" y="131371"/>
                  <a:pt x="59960" y="79013"/>
                </a:cubicBezTo>
                <a:cubicBezTo>
                  <a:pt x="93271" y="25703"/>
                  <a:pt x="153231" y="0"/>
                  <a:pt x="237936" y="0"/>
                </a:cubicBezTo>
                <a:lnTo>
                  <a:pt x="260778" y="99005"/>
                </a:lnTo>
                <a:cubicBezTo>
                  <a:pt x="214143" y="99956"/>
                  <a:pt x="182735" y="115188"/>
                  <a:pt x="166556" y="144699"/>
                </a:cubicBezTo>
                <a:cubicBezTo>
                  <a:pt x="150376" y="174210"/>
                  <a:pt x="142762" y="217048"/>
                  <a:pt x="142762" y="273214"/>
                </a:cubicBezTo>
                <a:lnTo>
                  <a:pt x="277910" y="273214"/>
                </a:lnTo>
                <a:lnTo>
                  <a:pt x="277910" y="550237"/>
                </a:lnTo>
                <a:lnTo>
                  <a:pt x="0" y="550237"/>
                </a:lnTo>
                <a:cubicBezTo>
                  <a:pt x="0" y="488359"/>
                  <a:pt x="952" y="416961"/>
                  <a:pt x="3807" y="334140"/>
                </a:cubicBezTo>
                <a:close/>
                <a:moveTo>
                  <a:pt x="400685" y="334140"/>
                </a:moveTo>
                <a:cubicBezTo>
                  <a:pt x="404492" y="217048"/>
                  <a:pt x="423527" y="131371"/>
                  <a:pt x="456838" y="79013"/>
                </a:cubicBezTo>
                <a:cubicBezTo>
                  <a:pt x="490149" y="25703"/>
                  <a:pt x="550109" y="0"/>
                  <a:pt x="634814" y="0"/>
                </a:cubicBezTo>
                <a:lnTo>
                  <a:pt x="657656" y="99005"/>
                </a:lnTo>
                <a:cubicBezTo>
                  <a:pt x="611021" y="99956"/>
                  <a:pt x="579613" y="115188"/>
                  <a:pt x="563434" y="144699"/>
                </a:cubicBezTo>
                <a:cubicBezTo>
                  <a:pt x="547254" y="174210"/>
                  <a:pt x="539640" y="217048"/>
                  <a:pt x="539640" y="273214"/>
                </a:cubicBezTo>
                <a:lnTo>
                  <a:pt x="674788" y="273214"/>
                </a:lnTo>
                <a:lnTo>
                  <a:pt x="674788" y="550237"/>
                </a:lnTo>
                <a:lnTo>
                  <a:pt x="395926" y="550237"/>
                </a:lnTo>
                <a:cubicBezTo>
                  <a:pt x="396878" y="488359"/>
                  <a:pt x="397830" y="416961"/>
                  <a:pt x="400685" y="334140"/>
                </a:cubicBezTo>
                <a:close/>
              </a:path>
            </a:pathLst>
          </a:custGeom>
          <a:solidFill>
            <a:schemeClr val="bg2"/>
          </a:solidFill>
          <a:ln w="9514" cap="flat">
            <a:noFill/>
            <a:prstDash val="solid"/>
            <a:miter/>
          </a:ln>
        </p:spPr>
        <p:txBody>
          <a:bodyPr rtlCol="0" anchor="ctr"/>
          <a:lstStyle/>
          <a:p>
            <a:endParaRPr lang="en-US">
              <a:solidFill>
                <a:schemeClr val="tx1"/>
              </a:solidFill>
            </a:endParaRPr>
          </a:p>
        </p:txBody>
      </p:sp>
      <p:sp>
        <p:nvSpPr>
          <p:cNvPr id="35" name="Text Placeholder 6">
            <a:extLst>
              <a:ext uri="{FF2B5EF4-FFF2-40B4-BE49-F238E27FC236}">
                <a16:creationId xmlns:a16="http://schemas.microsoft.com/office/drawing/2014/main" id="{7739D367-EF77-284C-BB86-C88C829C27BD}"/>
              </a:ext>
            </a:extLst>
          </p:cNvPr>
          <p:cNvSpPr>
            <a:spLocks noGrp="1"/>
          </p:cNvSpPr>
          <p:nvPr>
            <p:ph type="body" sz="quarter" idx="16" hasCustomPrompt="1"/>
          </p:nvPr>
        </p:nvSpPr>
        <p:spPr>
          <a:xfrm>
            <a:off x="6334945" y="5422786"/>
            <a:ext cx="5522213" cy="657143"/>
          </a:xfrm>
        </p:spPr>
        <p:txBody>
          <a:bodyPr>
            <a:noAutofit/>
          </a:bodyPr>
          <a:lstStyle>
            <a:lvl1pPr algn="l">
              <a:spcBef>
                <a:spcPts val="0"/>
              </a:spcBef>
              <a:defRPr sz="1600" b="1" i="0">
                <a:solidFill>
                  <a:schemeClr val="tx2"/>
                </a:solidFill>
                <a:latin typeface="Arial" panose="020B0604020202020204" pitchFamily="34" charset="0"/>
                <a:cs typeface="Arial" panose="020B0604020202020204" pitchFamily="34" charset="0"/>
              </a:defRPr>
            </a:lvl1pPr>
          </a:lstStyle>
          <a:p>
            <a:r>
              <a:rPr lang="en-US" dirty="0"/>
              <a:t>FIRSTNAME LASTNAME,</a:t>
            </a:r>
          </a:p>
          <a:p>
            <a:r>
              <a:rPr lang="en-US" dirty="0"/>
              <a:t>ORGANISATION</a:t>
            </a:r>
            <a:endParaRPr lang="en-GB" dirty="0"/>
          </a:p>
        </p:txBody>
      </p:sp>
    </p:spTree>
    <p:extLst>
      <p:ext uri="{BB962C8B-B14F-4D97-AF65-F5344CB8AC3E}">
        <p14:creationId xmlns:p14="http://schemas.microsoft.com/office/powerpoint/2010/main" val="40953315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Image">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dirty="0"/>
          </a:p>
        </p:txBody>
      </p:sp>
      <p:sp>
        <p:nvSpPr>
          <p:cNvPr id="30" name="Text Placeholder 6">
            <a:extLst>
              <a:ext uri="{FF2B5EF4-FFF2-40B4-BE49-F238E27FC236}">
                <a16:creationId xmlns:a16="http://schemas.microsoft.com/office/drawing/2014/main" id="{FE8B9BD2-8D43-AA4F-9513-5E8A89EA1977}"/>
              </a:ext>
            </a:extLst>
          </p:cNvPr>
          <p:cNvSpPr>
            <a:spLocks noGrp="1"/>
          </p:cNvSpPr>
          <p:nvPr>
            <p:ph type="body" sz="quarter" idx="13"/>
          </p:nvPr>
        </p:nvSpPr>
        <p:spPr>
          <a:xfrm>
            <a:off x="334434" y="4905375"/>
            <a:ext cx="11522726" cy="1449091"/>
          </a:xfrm>
        </p:spPr>
        <p:txBody>
          <a:bodyPr/>
          <a:lstStyle/>
          <a:p>
            <a:pPr lvl="0"/>
            <a:r>
              <a:rPr lang="en-US"/>
              <a:t>Click to edit Master text styles</a:t>
            </a:r>
          </a:p>
        </p:txBody>
      </p:sp>
      <p:sp>
        <p:nvSpPr>
          <p:cNvPr id="31" name="Title 2">
            <a:extLst>
              <a:ext uri="{FF2B5EF4-FFF2-40B4-BE49-F238E27FC236}">
                <a16:creationId xmlns:a16="http://schemas.microsoft.com/office/drawing/2014/main" id="{4D9866F2-94D8-E04C-A43A-226E03A56398}"/>
              </a:ext>
            </a:extLst>
          </p:cNvPr>
          <p:cNvSpPr>
            <a:spLocks noGrp="1"/>
          </p:cNvSpPr>
          <p:nvPr>
            <p:ph type="title" hasCustomPrompt="1"/>
          </p:nvPr>
        </p:nvSpPr>
        <p:spPr>
          <a:xfrm>
            <a:off x="334841" y="3581936"/>
            <a:ext cx="11522319" cy="1323439"/>
          </a:xfrm>
        </p:spPr>
        <p:txBody>
          <a:bodyPr anchor="t">
            <a:spAutoFit/>
          </a:bodyPr>
          <a:lstStyle>
            <a:lvl1pPr>
              <a:defRPr/>
            </a:lvl1pPr>
          </a:lstStyle>
          <a:p>
            <a:r>
              <a:rPr lang="en-US" dirty="0"/>
              <a:t>Click to edit Master title style</a:t>
            </a:r>
            <a:br>
              <a:rPr lang="en-US" dirty="0"/>
            </a:br>
            <a:r>
              <a:rPr lang="en-US" dirty="0"/>
              <a:t>Click to edit Master title style</a:t>
            </a:r>
            <a:endParaRPr lang="en-GB" dirty="0"/>
          </a:p>
        </p:txBody>
      </p:sp>
      <p:sp>
        <p:nvSpPr>
          <p:cNvPr id="32" name="Picture Placeholder 30">
            <a:extLst>
              <a:ext uri="{FF2B5EF4-FFF2-40B4-BE49-F238E27FC236}">
                <a16:creationId xmlns:a16="http://schemas.microsoft.com/office/drawing/2014/main" id="{26D5FF43-E067-7F4F-A07D-1716899D309C}"/>
              </a:ext>
            </a:extLst>
          </p:cNvPr>
          <p:cNvSpPr>
            <a:spLocks noGrp="1"/>
          </p:cNvSpPr>
          <p:nvPr>
            <p:ph type="pic" sz="quarter" idx="10" hasCustomPrompt="1"/>
          </p:nvPr>
        </p:nvSpPr>
        <p:spPr>
          <a:xfrm>
            <a:off x="0" y="0"/>
            <a:ext cx="12192000" cy="3321050"/>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Tree>
    <p:extLst>
      <p:ext uri="{BB962C8B-B14F-4D97-AF65-F5344CB8AC3E}">
        <p14:creationId xmlns:p14="http://schemas.microsoft.com/office/powerpoint/2010/main" val="18084193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tement slide 1">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446088" y="404812"/>
            <a:ext cx="11283951" cy="6048376"/>
          </a:xfrm>
          <a:prstGeom prst="rect">
            <a:avLst/>
          </a:prstGeom>
          <a:gradFill>
            <a:gsLst>
              <a:gs pos="100000">
                <a:schemeClr val="tx2"/>
              </a:gs>
              <a:gs pos="0">
                <a:schemeClr val="bg1"/>
              </a:gs>
              <a:gs pos="44000">
                <a:schemeClr val="bg2"/>
              </a:gs>
            </a:gsLst>
            <a:lin ang="2700000" scaled="1"/>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itle 2">
            <a:extLst>
              <a:ext uri="{FF2B5EF4-FFF2-40B4-BE49-F238E27FC236}">
                <a16:creationId xmlns:a16="http://schemas.microsoft.com/office/drawing/2014/main" id="{39BD53EF-C7B0-6E41-A66D-834E01376721}"/>
              </a:ext>
            </a:extLst>
          </p:cNvPr>
          <p:cNvSpPr>
            <a:spLocks noGrp="1"/>
          </p:cNvSpPr>
          <p:nvPr>
            <p:ph type="title" hasCustomPrompt="1"/>
          </p:nvPr>
        </p:nvSpPr>
        <p:spPr>
          <a:xfrm>
            <a:off x="1330993" y="1888906"/>
            <a:ext cx="9514140" cy="3080188"/>
          </a:xfrm>
          <a:ln w="19050">
            <a:solidFill>
              <a:schemeClr val="bg1"/>
            </a:solidFill>
          </a:ln>
        </p:spPr>
        <p:txBody>
          <a:bodyPr wrap="square" lIns="360000" tIns="360000" rIns="360000" bIns="251999" anchor="ctr">
            <a:spAutoFit/>
          </a:bodyPr>
          <a:lstStyle>
            <a:lvl1pPr algn="ctr">
              <a:defRPr sz="8000">
                <a:solidFill>
                  <a:schemeClr val="bg1"/>
                </a:solidFill>
              </a:defRPr>
            </a:lvl1pPr>
          </a:lstStyle>
          <a:p>
            <a:r>
              <a:rPr lang="en-US" dirty="0"/>
              <a:t>LARGE </a:t>
            </a:r>
            <a:br>
              <a:rPr lang="en-US" dirty="0"/>
            </a:br>
            <a:r>
              <a:rPr lang="en-US" dirty="0"/>
              <a:t>STATEMENT</a:t>
            </a:r>
            <a:endParaRPr lang="en-GB" dirty="0"/>
          </a:p>
        </p:txBody>
      </p:sp>
    </p:spTree>
    <p:extLst>
      <p:ext uri="{BB962C8B-B14F-4D97-AF65-F5344CB8AC3E}">
        <p14:creationId xmlns:p14="http://schemas.microsoft.com/office/powerpoint/2010/main" val="22486204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atement slide 2">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446088" y="404812"/>
            <a:ext cx="11283951" cy="6048376"/>
          </a:xfrm>
          <a:prstGeom prst="rect">
            <a:avLst/>
          </a:prstGeom>
          <a:gradFill>
            <a:gsLst>
              <a:gs pos="100000">
                <a:schemeClr val="accent2"/>
              </a:gs>
              <a:gs pos="0">
                <a:schemeClr val="tx2"/>
              </a:gs>
            </a:gsLst>
            <a:lin ang="2700000" scaled="1"/>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1E157B93-E3FC-DD47-8422-8EAC34D4F64C}"/>
              </a:ext>
            </a:extLst>
          </p:cNvPr>
          <p:cNvSpPr>
            <a:spLocks noGrp="1"/>
          </p:cNvSpPr>
          <p:nvPr>
            <p:ph type="title" hasCustomPrompt="1"/>
          </p:nvPr>
        </p:nvSpPr>
        <p:spPr>
          <a:xfrm>
            <a:off x="1330993" y="1888906"/>
            <a:ext cx="9514140" cy="3080188"/>
          </a:xfrm>
          <a:ln w="19050">
            <a:solidFill>
              <a:schemeClr val="bg1"/>
            </a:solidFill>
          </a:ln>
        </p:spPr>
        <p:txBody>
          <a:bodyPr wrap="square" lIns="360000" tIns="360000" rIns="360000" bIns="251999" anchor="ctr">
            <a:spAutoFit/>
          </a:bodyPr>
          <a:lstStyle>
            <a:lvl1pPr algn="ctr">
              <a:defRPr sz="8000">
                <a:solidFill>
                  <a:schemeClr val="bg1"/>
                </a:solidFill>
              </a:defRPr>
            </a:lvl1pPr>
          </a:lstStyle>
          <a:p>
            <a:r>
              <a:rPr lang="en-US" dirty="0"/>
              <a:t>LARGE </a:t>
            </a:r>
            <a:br>
              <a:rPr lang="en-US" dirty="0"/>
            </a:br>
            <a:r>
              <a:rPr lang="en-US" dirty="0"/>
              <a:t>STATEMENT</a:t>
            </a:r>
            <a:endParaRPr lang="en-GB" dirty="0"/>
          </a:p>
        </p:txBody>
      </p:sp>
    </p:spTree>
    <p:extLst>
      <p:ext uri="{BB962C8B-B14F-4D97-AF65-F5344CB8AC3E}">
        <p14:creationId xmlns:p14="http://schemas.microsoft.com/office/powerpoint/2010/main" val="13637558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tement slide 3">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446088" y="404812"/>
            <a:ext cx="11283951" cy="6048376"/>
          </a:xfrm>
          <a:prstGeom prst="rect">
            <a:avLst/>
          </a:prstGeom>
          <a:gradFill>
            <a:gsLst>
              <a:gs pos="0">
                <a:schemeClr val="accent3"/>
              </a:gs>
              <a:gs pos="100000">
                <a:schemeClr val="tx2"/>
              </a:gs>
            </a:gsLst>
            <a:lin ang="2700000" scaled="1"/>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1E157B93-E3FC-DD47-8422-8EAC34D4F64C}"/>
              </a:ext>
            </a:extLst>
          </p:cNvPr>
          <p:cNvSpPr>
            <a:spLocks noGrp="1"/>
          </p:cNvSpPr>
          <p:nvPr>
            <p:ph type="title" hasCustomPrompt="1"/>
          </p:nvPr>
        </p:nvSpPr>
        <p:spPr>
          <a:xfrm>
            <a:off x="1330993" y="1888906"/>
            <a:ext cx="9514140" cy="3080188"/>
          </a:xfrm>
          <a:ln w="19050">
            <a:solidFill>
              <a:schemeClr val="bg1"/>
            </a:solidFill>
          </a:ln>
        </p:spPr>
        <p:txBody>
          <a:bodyPr wrap="square" lIns="360000" tIns="360000" rIns="360000" bIns="251999" anchor="ctr">
            <a:spAutoFit/>
          </a:bodyPr>
          <a:lstStyle>
            <a:lvl1pPr algn="ctr">
              <a:defRPr sz="8000">
                <a:solidFill>
                  <a:schemeClr val="bg1"/>
                </a:solidFill>
              </a:defRPr>
            </a:lvl1pPr>
          </a:lstStyle>
          <a:p>
            <a:r>
              <a:rPr lang="en-US" dirty="0"/>
              <a:t>LARGE </a:t>
            </a:r>
            <a:br>
              <a:rPr lang="en-US" dirty="0"/>
            </a:br>
            <a:r>
              <a:rPr lang="en-US" dirty="0"/>
              <a:t>STATEMENT</a:t>
            </a:r>
            <a:endParaRPr lang="en-GB" dirty="0"/>
          </a:p>
        </p:txBody>
      </p:sp>
    </p:spTree>
    <p:extLst>
      <p:ext uri="{BB962C8B-B14F-4D97-AF65-F5344CB8AC3E}">
        <p14:creationId xmlns:p14="http://schemas.microsoft.com/office/powerpoint/2010/main" val="19944948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atement slide 4">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446088" y="404812"/>
            <a:ext cx="11283951" cy="6048376"/>
          </a:xfrm>
          <a:prstGeom prst="rect">
            <a:avLst/>
          </a:prstGeom>
          <a:gradFill flip="none" rotWithShape="1">
            <a:gsLst>
              <a:gs pos="100000">
                <a:schemeClr val="accent2"/>
              </a:gs>
              <a:gs pos="0">
                <a:schemeClr val="accent3"/>
              </a:gs>
            </a:gsLst>
            <a:lin ang="13500000" scaled="1"/>
            <a:tileRect/>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580B6667-C860-F946-A8B1-920D363B8E7E}"/>
              </a:ext>
            </a:extLst>
          </p:cNvPr>
          <p:cNvSpPr>
            <a:spLocks noGrp="1"/>
          </p:cNvSpPr>
          <p:nvPr>
            <p:ph type="title" hasCustomPrompt="1"/>
          </p:nvPr>
        </p:nvSpPr>
        <p:spPr>
          <a:xfrm>
            <a:off x="1330993" y="1888906"/>
            <a:ext cx="9514140" cy="3080188"/>
          </a:xfrm>
          <a:ln w="19050">
            <a:solidFill>
              <a:schemeClr val="bg1"/>
            </a:solidFill>
          </a:ln>
        </p:spPr>
        <p:txBody>
          <a:bodyPr wrap="square" lIns="360000" tIns="360000" rIns="360000" bIns="251999" anchor="ctr">
            <a:spAutoFit/>
          </a:bodyPr>
          <a:lstStyle>
            <a:lvl1pPr algn="ctr">
              <a:defRPr sz="8000">
                <a:solidFill>
                  <a:schemeClr val="bg1"/>
                </a:solidFill>
              </a:defRPr>
            </a:lvl1pPr>
          </a:lstStyle>
          <a:p>
            <a:r>
              <a:rPr lang="en-US" dirty="0"/>
              <a:t>LARGE </a:t>
            </a:r>
            <a:br>
              <a:rPr lang="en-US" dirty="0"/>
            </a:br>
            <a:r>
              <a:rPr lang="en-US" dirty="0"/>
              <a:t>STATEMENT</a:t>
            </a:r>
            <a:endParaRPr lang="en-GB" dirty="0"/>
          </a:p>
        </p:txBody>
      </p:sp>
    </p:spTree>
    <p:extLst>
      <p:ext uri="{BB962C8B-B14F-4D97-AF65-F5344CB8AC3E}">
        <p14:creationId xmlns:p14="http://schemas.microsoft.com/office/powerpoint/2010/main" val="24445357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02">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gradFill flip="none" rotWithShape="1">
            <a:gsLst>
              <a:gs pos="100000">
                <a:schemeClr val="accent2"/>
              </a:gs>
              <a:gs pos="0">
                <a:schemeClr val="bg2"/>
              </a:gs>
              <a:gs pos="50000">
                <a:schemeClr val="tx2"/>
              </a:gs>
            </a:gsLst>
            <a:lin ang="13500000" scaled="1"/>
            <a:tileRect/>
          </a:gradFill>
        </p:spPr>
        <p:txBody>
          <a:bodyPr vert="horz" wrap="square" lIns="91440" tIns="45720" rIns="91440" bIns="45720" rtlCol="0" anchor="ctr">
            <a:noAutofit/>
          </a:bodyPr>
          <a:lstStyle>
            <a:lvl1pPr>
              <a:defRPr lang="en-GB" sz="2400" dirty="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pPr lvl="0" algn="ctr"/>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38">
            <a:extLst>
              <a:ext uri="{FF2B5EF4-FFF2-40B4-BE49-F238E27FC236}">
                <a16:creationId xmlns:a16="http://schemas.microsoft.com/office/drawing/2014/main" id="{3BF9A0A2-88F0-554E-A1CC-FA4F0250982C}"/>
              </a:ext>
            </a:extLst>
          </p:cNvPr>
          <p:cNvSpPr>
            <a:spLocks noGrp="1"/>
          </p:cNvSpPr>
          <p:nvPr>
            <p:ph type="body" sz="quarter" idx="15" hasCustomPrompt="1"/>
          </p:nvPr>
        </p:nvSpPr>
        <p:spPr>
          <a:xfrm>
            <a:off x="334841" y="3259225"/>
            <a:ext cx="11522320" cy="2604546"/>
          </a:xfrm>
        </p:spPr>
        <p:txBody>
          <a:bodyPr anchor="t">
            <a:normAutofit/>
          </a:bodyPr>
          <a:lstStyle>
            <a:lvl1pPr algn="l">
              <a:lnSpc>
                <a:spcPct val="80000"/>
              </a:lnSpc>
              <a:spcBef>
                <a:spcPts val="0"/>
              </a:spcBef>
              <a:defRPr lang="en-GB" sz="11000" b="0" i="0" kern="1200" cap="none" baseline="0" dirty="0">
                <a:solidFill>
                  <a:schemeClr val="bg1"/>
                </a:solidFill>
                <a:latin typeface="Oswald Light" pitchFamily="2" charset="77"/>
                <a:ea typeface="Arial" panose="020B0604020202020204" pitchFamily="34" charset="0"/>
                <a:cs typeface="Arial" panose="020B0604020202020204" pitchFamily="34" charset="0"/>
              </a:defRPr>
            </a:lvl1pPr>
          </a:lstStyle>
          <a:p>
            <a:pPr marL="0" marR="0" lvl="0" indent="0" algn="l" defTabSz="1219170" rtl="0" eaLnBrk="1" fontAlgn="auto" latinLnBrk="0" hangingPunct="1">
              <a:lnSpc>
                <a:spcPct val="80000"/>
              </a:lnSpc>
              <a:spcBef>
                <a:spcPts val="0"/>
              </a:spcBef>
              <a:spcAft>
                <a:spcPts val="0"/>
              </a:spcAft>
              <a:buClrTx/>
              <a:buSzTx/>
              <a:buFont typeface="Arial"/>
              <a:buNone/>
              <a:tabLst/>
            </a:pPr>
            <a:r>
              <a:rPr lang="en-GB" dirty="0"/>
              <a:t>Divider slide</a:t>
            </a:r>
          </a:p>
        </p:txBody>
      </p:sp>
      <p:sp>
        <p:nvSpPr>
          <p:cNvPr id="32" name="Text Placeholder 38">
            <a:extLst>
              <a:ext uri="{FF2B5EF4-FFF2-40B4-BE49-F238E27FC236}">
                <a16:creationId xmlns:a16="http://schemas.microsoft.com/office/drawing/2014/main" id="{139D9A37-0F8C-DD4E-A536-B7E0CF1E5BBA}"/>
              </a:ext>
            </a:extLst>
          </p:cNvPr>
          <p:cNvSpPr>
            <a:spLocks noGrp="1"/>
          </p:cNvSpPr>
          <p:nvPr>
            <p:ph type="body" sz="quarter" idx="13" hasCustomPrompt="1"/>
          </p:nvPr>
        </p:nvSpPr>
        <p:spPr>
          <a:xfrm>
            <a:off x="334840" y="620052"/>
            <a:ext cx="11522320" cy="2639173"/>
          </a:xfrm>
          <a:noFill/>
        </p:spPr>
        <p:txBody>
          <a:bodyPr anchor="b">
            <a:noAutofit/>
          </a:bodyPr>
          <a:lstStyle>
            <a:lvl1pPr algn="l">
              <a:spcBef>
                <a:spcPts val="0"/>
              </a:spcBef>
              <a:defRPr sz="15300" b="1" i="0" cap="all" baseline="0">
                <a:solidFill>
                  <a:schemeClr val="bg2"/>
                </a:solidFill>
                <a:latin typeface="Oswald Light" pitchFamily="2" charset="77"/>
              </a:defRPr>
            </a:lvl1pPr>
          </a:lstStyle>
          <a:p>
            <a:pPr lvl="0"/>
            <a:r>
              <a:rPr lang="en-GB" dirty="0"/>
              <a:t>02</a:t>
            </a:r>
          </a:p>
        </p:txBody>
      </p:sp>
      <p:sp>
        <p:nvSpPr>
          <p:cNvPr id="34" name="Text Placeholder 38">
            <a:extLst>
              <a:ext uri="{FF2B5EF4-FFF2-40B4-BE49-F238E27FC236}">
                <a16:creationId xmlns:a16="http://schemas.microsoft.com/office/drawing/2014/main" id="{EC29B1F2-A3E0-EE46-810D-04D9B1D59953}"/>
              </a:ext>
            </a:extLst>
          </p:cNvPr>
          <p:cNvSpPr>
            <a:spLocks noGrp="1"/>
          </p:cNvSpPr>
          <p:nvPr>
            <p:ph type="body" sz="quarter" idx="16" hasCustomPrompt="1"/>
          </p:nvPr>
        </p:nvSpPr>
        <p:spPr>
          <a:xfrm>
            <a:off x="334841" y="5863771"/>
            <a:ext cx="11522320" cy="380396"/>
          </a:xfrm>
        </p:spPr>
        <p:txBody>
          <a:bodyPr anchor="t">
            <a:noAutofit/>
          </a:bodyPr>
          <a:lstStyle>
            <a:lvl1pPr algn="l">
              <a:lnSpc>
                <a:spcPct val="90000"/>
              </a:lnSpc>
              <a:spcBef>
                <a:spcPts val="0"/>
              </a:spcBef>
              <a:defRPr lang="en-GB" sz="1600" b="0" i="0" kern="1200" cap="none" baseline="0" dirty="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1219170" rtl="0" eaLnBrk="1" latinLnBrk="0" hangingPunct="1">
              <a:lnSpc>
                <a:spcPct val="90000"/>
              </a:lnSpc>
              <a:spcBef>
                <a:spcPts val="0"/>
              </a:spcBef>
              <a:buFont typeface="Arial"/>
              <a:buNone/>
            </a:pPr>
            <a:r>
              <a:rPr lang="en-GB" dirty="0"/>
              <a:t>Sub point</a:t>
            </a:r>
          </a:p>
        </p:txBody>
      </p:sp>
    </p:spTree>
    <p:extLst>
      <p:ext uri="{BB962C8B-B14F-4D97-AF65-F5344CB8AC3E}">
        <p14:creationId xmlns:p14="http://schemas.microsoft.com/office/powerpoint/2010/main" val="7986099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atement slide 5">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446088" y="404812"/>
            <a:ext cx="11283951" cy="6048376"/>
          </a:xfrm>
          <a:prstGeom prst="rect">
            <a:avLst/>
          </a:prstGeom>
          <a:gradFill>
            <a:gsLst>
              <a:gs pos="100000">
                <a:schemeClr val="accent1"/>
              </a:gs>
              <a:gs pos="0">
                <a:schemeClr val="accent3"/>
              </a:gs>
            </a:gsLst>
            <a:lin ang="2700000" scaled="1"/>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5E783489-1234-F04A-AA52-63B9955F3881}"/>
              </a:ext>
            </a:extLst>
          </p:cNvPr>
          <p:cNvSpPr>
            <a:spLocks noGrp="1"/>
          </p:cNvSpPr>
          <p:nvPr>
            <p:ph type="title" hasCustomPrompt="1"/>
          </p:nvPr>
        </p:nvSpPr>
        <p:spPr>
          <a:xfrm>
            <a:off x="1330993" y="1888906"/>
            <a:ext cx="9514140" cy="3080188"/>
          </a:xfrm>
          <a:ln w="19050">
            <a:solidFill>
              <a:schemeClr val="bg1"/>
            </a:solidFill>
          </a:ln>
        </p:spPr>
        <p:txBody>
          <a:bodyPr wrap="square" lIns="360000" tIns="360000" rIns="360000" bIns="251999" anchor="ctr">
            <a:spAutoFit/>
          </a:bodyPr>
          <a:lstStyle>
            <a:lvl1pPr algn="ctr">
              <a:defRPr sz="8000">
                <a:solidFill>
                  <a:schemeClr val="bg1"/>
                </a:solidFill>
              </a:defRPr>
            </a:lvl1pPr>
          </a:lstStyle>
          <a:p>
            <a:r>
              <a:rPr lang="en-US" dirty="0"/>
              <a:t>LARGE </a:t>
            </a:r>
            <a:br>
              <a:rPr lang="en-US" dirty="0"/>
            </a:br>
            <a:r>
              <a:rPr lang="en-US" dirty="0"/>
              <a:t>STATEMENT</a:t>
            </a:r>
            <a:endParaRPr lang="en-GB" dirty="0"/>
          </a:p>
        </p:txBody>
      </p:sp>
    </p:spTree>
    <p:extLst>
      <p:ext uri="{BB962C8B-B14F-4D97-AF65-F5344CB8AC3E}">
        <p14:creationId xmlns:p14="http://schemas.microsoft.com/office/powerpoint/2010/main" val="4918655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Basic Slide – Title and Content">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dirty="0"/>
          </a:p>
        </p:txBody>
      </p:sp>
      <p:sp>
        <p:nvSpPr>
          <p:cNvPr id="30" name="Text Placeholder 6">
            <a:extLst>
              <a:ext uri="{FF2B5EF4-FFF2-40B4-BE49-F238E27FC236}">
                <a16:creationId xmlns:a16="http://schemas.microsoft.com/office/drawing/2014/main" id="{FE8B9BD2-8D43-AA4F-9513-5E8A89EA1977}"/>
              </a:ext>
            </a:extLst>
          </p:cNvPr>
          <p:cNvSpPr>
            <a:spLocks noGrp="1"/>
          </p:cNvSpPr>
          <p:nvPr>
            <p:ph type="body" sz="quarter" idx="13"/>
          </p:nvPr>
        </p:nvSpPr>
        <p:spPr>
          <a:xfrm>
            <a:off x="334434" y="2380912"/>
            <a:ext cx="3700180" cy="2073537"/>
          </a:xfrm>
        </p:spPr>
        <p:txBody>
          <a:bodyPr/>
          <a:lstStyle/>
          <a:p>
            <a:pPr lvl="0"/>
            <a:r>
              <a:rPr lang="en-US"/>
              <a:t>Click to edit Master text styles</a:t>
            </a:r>
          </a:p>
        </p:txBody>
      </p:sp>
      <p:sp>
        <p:nvSpPr>
          <p:cNvPr id="31" name="Title 2">
            <a:extLst>
              <a:ext uri="{FF2B5EF4-FFF2-40B4-BE49-F238E27FC236}">
                <a16:creationId xmlns:a16="http://schemas.microsoft.com/office/drawing/2014/main" id="{4D9866F2-94D8-E04C-A43A-226E03A56398}"/>
              </a:ext>
            </a:extLst>
          </p:cNvPr>
          <p:cNvSpPr>
            <a:spLocks noGrp="1"/>
          </p:cNvSpPr>
          <p:nvPr>
            <p:ph type="title"/>
          </p:nvPr>
        </p:nvSpPr>
        <p:spPr>
          <a:xfrm>
            <a:off x="334841" y="1057473"/>
            <a:ext cx="3700049" cy="1323439"/>
          </a:xfrm>
        </p:spPr>
        <p:txBody>
          <a:bodyPr wrap="square" anchor="t">
            <a:spAutoFit/>
          </a:bodyPr>
          <a:lstStyle>
            <a:lvl1pPr>
              <a:defRPr/>
            </a:lvl1pPr>
          </a:lstStyle>
          <a:p>
            <a:r>
              <a:rPr lang="en-US"/>
              <a:t>Click to edit Master title style</a:t>
            </a:r>
            <a:endParaRPr lang="en-GB" dirty="0"/>
          </a:p>
        </p:txBody>
      </p:sp>
      <p:grpSp>
        <p:nvGrpSpPr>
          <p:cNvPr id="32" name="Group 31">
            <a:extLst>
              <a:ext uri="{FF2B5EF4-FFF2-40B4-BE49-F238E27FC236}">
                <a16:creationId xmlns:a16="http://schemas.microsoft.com/office/drawing/2014/main" id="{74FDD1D2-12BD-7A46-815F-A71B0C583912}"/>
              </a:ext>
            </a:extLst>
          </p:cNvPr>
          <p:cNvGrpSpPr/>
          <p:nvPr userDrawn="1"/>
        </p:nvGrpSpPr>
        <p:grpSpPr>
          <a:xfrm>
            <a:off x="3476476" y="1045452"/>
            <a:ext cx="9240864" cy="5318104"/>
            <a:chOff x="1371600" y="2743200"/>
            <a:chExt cx="11088379" cy="6381345"/>
          </a:xfrm>
        </p:grpSpPr>
        <p:sp>
          <p:nvSpPr>
            <p:cNvPr id="33" name="Freeform 45">
              <a:extLst>
                <a:ext uri="{FF2B5EF4-FFF2-40B4-BE49-F238E27FC236}">
                  <a16:creationId xmlns:a16="http://schemas.microsoft.com/office/drawing/2014/main" id="{9BFC3B9D-2435-3E42-B704-34288EDFD8AC}"/>
                </a:ext>
              </a:extLst>
            </p:cNvPr>
            <p:cNvSpPr>
              <a:spLocks/>
            </p:cNvSpPr>
            <p:nvPr/>
          </p:nvSpPr>
          <p:spPr bwMode="auto">
            <a:xfrm>
              <a:off x="1371600" y="8878135"/>
              <a:ext cx="5585257" cy="246410"/>
            </a:xfrm>
            <a:custGeom>
              <a:avLst/>
              <a:gdLst>
                <a:gd name="T0" fmla="*/ 0 w 885"/>
                <a:gd name="T1" fmla="*/ 16 h 39"/>
                <a:gd name="T2" fmla="*/ 78 w 885"/>
                <a:gd name="T3" fmla="*/ 39 h 39"/>
                <a:gd name="T4" fmla="*/ 885 w 885"/>
                <a:gd name="T5" fmla="*/ 39 h 39"/>
                <a:gd name="T6" fmla="*/ 885 w 885"/>
                <a:gd name="T7" fmla="*/ 0 h 39"/>
                <a:gd name="T8" fmla="*/ 0 w 885"/>
                <a:gd name="T9" fmla="*/ 0 h 39"/>
                <a:gd name="T10" fmla="*/ 0 w 885"/>
                <a:gd name="T11" fmla="*/ 16 h 39"/>
              </a:gdLst>
              <a:ahLst/>
              <a:cxnLst>
                <a:cxn ang="0">
                  <a:pos x="T0" y="T1"/>
                </a:cxn>
                <a:cxn ang="0">
                  <a:pos x="T2" y="T3"/>
                </a:cxn>
                <a:cxn ang="0">
                  <a:pos x="T4" y="T5"/>
                </a:cxn>
                <a:cxn ang="0">
                  <a:pos x="T6" y="T7"/>
                </a:cxn>
                <a:cxn ang="0">
                  <a:pos x="T8" y="T9"/>
                </a:cxn>
                <a:cxn ang="0">
                  <a:pos x="T10" y="T11"/>
                </a:cxn>
              </a:cxnLst>
              <a:rect l="0" t="0" r="r" b="b"/>
              <a:pathLst>
                <a:path w="885" h="39">
                  <a:moveTo>
                    <a:pt x="0" y="16"/>
                  </a:moveTo>
                  <a:cubicBezTo>
                    <a:pt x="0" y="23"/>
                    <a:pt x="30" y="39"/>
                    <a:pt x="78" y="39"/>
                  </a:cubicBezTo>
                  <a:cubicBezTo>
                    <a:pt x="126" y="39"/>
                    <a:pt x="885" y="39"/>
                    <a:pt x="885" y="39"/>
                  </a:cubicBezTo>
                  <a:cubicBezTo>
                    <a:pt x="885" y="0"/>
                    <a:pt x="885" y="0"/>
                    <a:pt x="885" y="0"/>
                  </a:cubicBezTo>
                  <a:cubicBezTo>
                    <a:pt x="0" y="0"/>
                    <a:pt x="0" y="0"/>
                    <a:pt x="0" y="0"/>
                  </a:cubicBezTo>
                  <a:lnTo>
                    <a:pt x="0" y="16"/>
                  </a:lnTo>
                  <a:close/>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4" name="Freeform 46">
              <a:extLst>
                <a:ext uri="{FF2B5EF4-FFF2-40B4-BE49-F238E27FC236}">
                  <a16:creationId xmlns:a16="http://schemas.microsoft.com/office/drawing/2014/main" id="{9EC980B3-7E34-C440-8CAC-7C2B772F5A82}"/>
                </a:ext>
              </a:extLst>
            </p:cNvPr>
            <p:cNvSpPr>
              <a:spLocks/>
            </p:cNvSpPr>
            <p:nvPr/>
          </p:nvSpPr>
          <p:spPr bwMode="auto">
            <a:xfrm>
              <a:off x="6874718" y="8878135"/>
              <a:ext cx="5585257" cy="246410"/>
            </a:xfrm>
            <a:custGeom>
              <a:avLst/>
              <a:gdLst>
                <a:gd name="T0" fmla="*/ 884 w 884"/>
                <a:gd name="T1" fmla="*/ 16 h 39"/>
                <a:gd name="T2" fmla="*/ 806 w 884"/>
                <a:gd name="T3" fmla="*/ 39 h 39"/>
                <a:gd name="T4" fmla="*/ 0 w 884"/>
                <a:gd name="T5" fmla="*/ 39 h 39"/>
                <a:gd name="T6" fmla="*/ 0 w 884"/>
                <a:gd name="T7" fmla="*/ 0 h 39"/>
                <a:gd name="T8" fmla="*/ 884 w 884"/>
                <a:gd name="T9" fmla="*/ 0 h 39"/>
                <a:gd name="T10" fmla="*/ 884 w 884"/>
                <a:gd name="T11" fmla="*/ 16 h 39"/>
              </a:gdLst>
              <a:ahLst/>
              <a:cxnLst>
                <a:cxn ang="0">
                  <a:pos x="T0" y="T1"/>
                </a:cxn>
                <a:cxn ang="0">
                  <a:pos x="T2" y="T3"/>
                </a:cxn>
                <a:cxn ang="0">
                  <a:pos x="T4" y="T5"/>
                </a:cxn>
                <a:cxn ang="0">
                  <a:pos x="T6" y="T7"/>
                </a:cxn>
                <a:cxn ang="0">
                  <a:pos x="T8" y="T9"/>
                </a:cxn>
                <a:cxn ang="0">
                  <a:pos x="T10" y="T11"/>
                </a:cxn>
              </a:cxnLst>
              <a:rect l="0" t="0" r="r" b="b"/>
              <a:pathLst>
                <a:path w="884" h="39">
                  <a:moveTo>
                    <a:pt x="884" y="16"/>
                  </a:moveTo>
                  <a:cubicBezTo>
                    <a:pt x="884" y="23"/>
                    <a:pt x="854" y="39"/>
                    <a:pt x="806" y="39"/>
                  </a:cubicBezTo>
                  <a:cubicBezTo>
                    <a:pt x="758" y="39"/>
                    <a:pt x="0" y="39"/>
                    <a:pt x="0" y="39"/>
                  </a:cubicBezTo>
                  <a:cubicBezTo>
                    <a:pt x="0" y="0"/>
                    <a:pt x="0" y="0"/>
                    <a:pt x="0" y="0"/>
                  </a:cubicBezTo>
                  <a:cubicBezTo>
                    <a:pt x="884" y="0"/>
                    <a:pt x="884" y="0"/>
                    <a:pt x="884" y="0"/>
                  </a:cubicBezTo>
                  <a:lnTo>
                    <a:pt x="884" y="16"/>
                  </a:lnTo>
                  <a:close/>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5" name="Freeform 47">
              <a:extLst>
                <a:ext uri="{FF2B5EF4-FFF2-40B4-BE49-F238E27FC236}">
                  <a16:creationId xmlns:a16="http://schemas.microsoft.com/office/drawing/2014/main" id="{01858D70-B776-054F-8429-4CC90713A929}"/>
                </a:ext>
              </a:extLst>
            </p:cNvPr>
            <p:cNvSpPr>
              <a:spLocks/>
            </p:cNvSpPr>
            <p:nvPr/>
          </p:nvSpPr>
          <p:spPr bwMode="auto">
            <a:xfrm>
              <a:off x="2464640" y="2743200"/>
              <a:ext cx="8984429" cy="6153891"/>
            </a:xfrm>
            <a:custGeom>
              <a:avLst/>
              <a:gdLst>
                <a:gd name="T0" fmla="*/ 1378 w 1423"/>
                <a:gd name="T1" fmla="*/ 0 h 974"/>
                <a:gd name="T2" fmla="*/ 45 w 1423"/>
                <a:gd name="T3" fmla="*/ 0 h 974"/>
                <a:gd name="T4" fmla="*/ 0 w 1423"/>
                <a:gd name="T5" fmla="*/ 45 h 974"/>
                <a:gd name="T6" fmla="*/ 0 w 1423"/>
                <a:gd name="T7" fmla="*/ 218 h 974"/>
                <a:gd name="T8" fmla="*/ 0 w 1423"/>
                <a:gd name="T9" fmla="*/ 929 h 974"/>
                <a:gd name="T10" fmla="*/ 45 w 1423"/>
                <a:gd name="T11" fmla="*/ 974 h 974"/>
                <a:gd name="T12" fmla="*/ 1378 w 1423"/>
                <a:gd name="T13" fmla="*/ 974 h 974"/>
                <a:gd name="T14" fmla="*/ 1423 w 1423"/>
                <a:gd name="T15" fmla="*/ 929 h 974"/>
                <a:gd name="T16" fmla="*/ 1423 w 1423"/>
                <a:gd name="T17" fmla="*/ 45 h 974"/>
                <a:gd name="T18" fmla="*/ 1378 w 1423"/>
                <a:gd name="T19" fmla="*/ 0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3" h="974">
                  <a:moveTo>
                    <a:pt x="1378" y="0"/>
                  </a:moveTo>
                  <a:cubicBezTo>
                    <a:pt x="45" y="0"/>
                    <a:pt x="45" y="0"/>
                    <a:pt x="45" y="0"/>
                  </a:cubicBezTo>
                  <a:cubicBezTo>
                    <a:pt x="20" y="0"/>
                    <a:pt x="0" y="20"/>
                    <a:pt x="0" y="45"/>
                  </a:cubicBezTo>
                  <a:cubicBezTo>
                    <a:pt x="0" y="218"/>
                    <a:pt x="0" y="218"/>
                    <a:pt x="0" y="218"/>
                  </a:cubicBezTo>
                  <a:cubicBezTo>
                    <a:pt x="0" y="929"/>
                    <a:pt x="0" y="929"/>
                    <a:pt x="0" y="929"/>
                  </a:cubicBezTo>
                  <a:cubicBezTo>
                    <a:pt x="0" y="954"/>
                    <a:pt x="20" y="974"/>
                    <a:pt x="45" y="974"/>
                  </a:cubicBezTo>
                  <a:cubicBezTo>
                    <a:pt x="1378" y="974"/>
                    <a:pt x="1378" y="974"/>
                    <a:pt x="1378" y="974"/>
                  </a:cubicBezTo>
                  <a:cubicBezTo>
                    <a:pt x="1403" y="974"/>
                    <a:pt x="1423" y="954"/>
                    <a:pt x="1423" y="929"/>
                  </a:cubicBezTo>
                  <a:cubicBezTo>
                    <a:pt x="1423" y="45"/>
                    <a:pt x="1423" y="45"/>
                    <a:pt x="1423" y="45"/>
                  </a:cubicBezTo>
                  <a:cubicBezTo>
                    <a:pt x="1423" y="20"/>
                    <a:pt x="1403" y="0"/>
                    <a:pt x="1378" y="0"/>
                  </a:cubicBezTo>
                  <a:close/>
                </a:path>
              </a:pathLst>
            </a:custGeom>
            <a:solidFill>
              <a:srgbClr val="D2D3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6" name="Freeform 48">
              <a:extLst>
                <a:ext uri="{FF2B5EF4-FFF2-40B4-BE49-F238E27FC236}">
                  <a16:creationId xmlns:a16="http://schemas.microsoft.com/office/drawing/2014/main" id="{38281977-5FB5-414A-A0F5-D9AFA0D49720}"/>
                </a:ext>
              </a:extLst>
            </p:cNvPr>
            <p:cNvSpPr>
              <a:spLocks/>
            </p:cNvSpPr>
            <p:nvPr/>
          </p:nvSpPr>
          <p:spPr bwMode="auto">
            <a:xfrm>
              <a:off x="2496233" y="2774789"/>
              <a:ext cx="8927567" cy="6090709"/>
            </a:xfrm>
            <a:custGeom>
              <a:avLst/>
              <a:gdLst>
                <a:gd name="T0" fmla="*/ 40 w 1414"/>
                <a:gd name="T1" fmla="*/ 964 h 964"/>
                <a:gd name="T2" fmla="*/ 0 w 1414"/>
                <a:gd name="T3" fmla="*/ 924 h 964"/>
                <a:gd name="T4" fmla="*/ 0 w 1414"/>
                <a:gd name="T5" fmla="*/ 40 h 964"/>
                <a:gd name="T6" fmla="*/ 40 w 1414"/>
                <a:gd name="T7" fmla="*/ 0 h 964"/>
                <a:gd name="T8" fmla="*/ 1373 w 1414"/>
                <a:gd name="T9" fmla="*/ 0 h 964"/>
                <a:gd name="T10" fmla="*/ 1414 w 1414"/>
                <a:gd name="T11" fmla="*/ 40 h 964"/>
                <a:gd name="T12" fmla="*/ 1414 w 1414"/>
                <a:gd name="T13" fmla="*/ 924 h 964"/>
                <a:gd name="T14" fmla="*/ 1373 w 1414"/>
                <a:gd name="T15" fmla="*/ 964 h 964"/>
                <a:gd name="T16" fmla="*/ 40 w 1414"/>
                <a:gd name="T17" fmla="*/ 964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964">
                  <a:moveTo>
                    <a:pt x="40" y="964"/>
                  </a:moveTo>
                  <a:cubicBezTo>
                    <a:pt x="18" y="964"/>
                    <a:pt x="0" y="946"/>
                    <a:pt x="0" y="924"/>
                  </a:cubicBezTo>
                  <a:cubicBezTo>
                    <a:pt x="0" y="40"/>
                    <a:pt x="0" y="40"/>
                    <a:pt x="0" y="40"/>
                  </a:cubicBezTo>
                  <a:cubicBezTo>
                    <a:pt x="0" y="18"/>
                    <a:pt x="18" y="0"/>
                    <a:pt x="40" y="0"/>
                  </a:cubicBezTo>
                  <a:cubicBezTo>
                    <a:pt x="1373" y="0"/>
                    <a:pt x="1373" y="0"/>
                    <a:pt x="1373" y="0"/>
                  </a:cubicBezTo>
                  <a:cubicBezTo>
                    <a:pt x="1396" y="0"/>
                    <a:pt x="1414" y="18"/>
                    <a:pt x="1414" y="40"/>
                  </a:cubicBezTo>
                  <a:cubicBezTo>
                    <a:pt x="1414" y="924"/>
                    <a:pt x="1414" y="924"/>
                    <a:pt x="1414" y="924"/>
                  </a:cubicBezTo>
                  <a:cubicBezTo>
                    <a:pt x="1414" y="946"/>
                    <a:pt x="1396" y="964"/>
                    <a:pt x="1373" y="964"/>
                  </a:cubicBezTo>
                  <a:lnTo>
                    <a:pt x="40" y="964"/>
                  </a:lnTo>
                  <a:close/>
                </a:path>
              </a:pathLst>
            </a:custGeom>
            <a:solidFill>
              <a:srgbClr val="1818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7" name="Freeform 49">
              <a:extLst>
                <a:ext uri="{FF2B5EF4-FFF2-40B4-BE49-F238E27FC236}">
                  <a16:creationId xmlns:a16="http://schemas.microsoft.com/office/drawing/2014/main" id="{D7F583DA-2165-5244-8262-4D7EB70C7F1D}"/>
                </a:ext>
              </a:extLst>
            </p:cNvPr>
            <p:cNvSpPr>
              <a:spLocks/>
            </p:cNvSpPr>
            <p:nvPr/>
          </p:nvSpPr>
          <p:spPr bwMode="auto">
            <a:xfrm>
              <a:off x="2496233" y="8606456"/>
              <a:ext cx="8927567" cy="259047"/>
            </a:xfrm>
            <a:custGeom>
              <a:avLst/>
              <a:gdLst>
                <a:gd name="T0" fmla="*/ 1414 w 1414"/>
                <a:gd name="T1" fmla="*/ 0 h 41"/>
                <a:gd name="T2" fmla="*/ 1396 w 1414"/>
                <a:gd name="T3" fmla="*/ 9 h 41"/>
                <a:gd name="T4" fmla="*/ 18 w 1414"/>
                <a:gd name="T5" fmla="*/ 9 h 41"/>
                <a:gd name="T6" fmla="*/ 0 w 1414"/>
                <a:gd name="T7" fmla="*/ 0 h 41"/>
                <a:gd name="T8" fmla="*/ 0 w 1414"/>
                <a:gd name="T9" fmla="*/ 1 h 41"/>
                <a:gd name="T10" fmla="*/ 40 w 1414"/>
                <a:gd name="T11" fmla="*/ 41 h 41"/>
                <a:gd name="T12" fmla="*/ 1373 w 1414"/>
                <a:gd name="T13" fmla="*/ 41 h 41"/>
                <a:gd name="T14" fmla="*/ 1414 w 1414"/>
                <a:gd name="T15" fmla="*/ 1 h 41"/>
                <a:gd name="T16" fmla="*/ 1414 w 1414"/>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41">
                  <a:moveTo>
                    <a:pt x="1414" y="0"/>
                  </a:moveTo>
                  <a:cubicBezTo>
                    <a:pt x="1409" y="6"/>
                    <a:pt x="1403" y="9"/>
                    <a:pt x="1396" y="9"/>
                  </a:cubicBezTo>
                  <a:cubicBezTo>
                    <a:pt x="18" y="9"/>
                    <a:pt x="18" y="9"/>
                    <a:pt x="18" y="9"/>
                  </a:cubicBezTo>
                  <a:cubicBezTo>
                    <a:pt x="10" y="9"/>
                    <a:pt x="4" y="6"/>
                    <a:pt x="0" y="0"/>
                  </a:cubicBezTo>
                  <a:cubicBezTo>
                    <a:pt x="0" y="1"/>
                    <a:pt x="0" y="1"/>
                    <a:pt x="0" y="1"/>
                  </a:cubicBezTo>
                  <a:cubicBezTo>
                    <a:pt x="0" y="23"/>
                    <a:pt x="18" y="41"/>
                    <a:pt x="40" y="41"/>
                  </a:cubicBezTo>
                  <a:cubicBezTo>
                    <a:pt x="1373" y="41"/>
                    <a:pt x="1373" y="41"/>
                    <a:pt x="1373" y="41"/>
                  </a:cubicBezTo>
                  <a:cubicBezTo>
                    <a:pt x="1396" y="41"/>
                    <a:pt x="1414" y="23"/>
                    <a:pt x="1414" y="1"/>
                  </a:cubicBezTo>
                  <a:lnTo>
                    <a:pt x="1414" y="0"/>
                  </a:lnTo>
                  <a:close/>
                </a:path>
              </a:pathLst>
            </a:custGeom>
            <a:solidFill>
              <a:srgbClr val="0C0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8" name="Rectangle 50">
              <a:extLst>
                <a:ext uri="{FF2B5EF4-FFF2-40B4-BE49-F238E27FC236}">
                  <a16:creationId xmlns:a16="http://schemas.microsoft.com/office/drawing/2014/main" id="{FA248812-79EE-BE4C-AB53-F574633D2554}"/>
                </a:ext>
              </a:extLst>
            </p:cNvPr>
            <p:cNvSpPr>
              <a:spLocks noChangeArrowheads="1"/>
            </p:cNvSpPr>
            <p:nvPr/>
          </p:nvSpPr>
          <p:spPr bwMode="auto">
            <a:xfrm>
              <a:off x="1371600" y="8777044"/>
              <a:ext cx="11088379" cy="202181"/>
            </a:xfrm>
            <a:prstGeom prst="rect">
              <a:avLst/>
            </a:prstGeom>
            <a:solidFill>
              <a:srgbClr val="D2D6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9" name="Freeform 51">
              <a:extLst>
                <a:ext uri="{FF2B5EF4-FFF2-40B4-BE49-F238E27FC236}">
                  <a16:creationId xmlns:a16="http://schemas.microsoft.com/office/drawing/2014/main" id="{02B43D5E-D027-CC4A-B0A1-4A8CAA2054D4}"/>
                </a:ext>
              </a:extLst>
            </p:cNvPr>
            <p:cNvSpPr>
              <a:spLocks/>
            </p:cNvSpPr>
            <p:nvPr/>
          </p:nvSpPr>
          <p:spPr bwMode="auto">
            <a:xfrm>
              <a:off x="6116539" y="8777044"/>
              <a:ext cx="1592177" cy="113727"/>
            </a:xfrm>
            <a:custGeom>
              <a:avLst/>
              <a:gdLst>
                <a:gd name="T0" fmla="*/ 0 w 252"/>
                <a:gd name="T1" fmla="*/ 0 h 18"/>
                <a:gd name="T2" fmla="*/ 22 w 252"/>
                <a:gd name="T3" fmla="*/ 18 h 18"/>
                <a:gd name="T4" fmla="*/ 230 w 252"/>
                <a:gd name="T5" fmla="*/ 18 h 18"/>
                <a:gd name="T6" fmla="*/ 252 w 252"/>
                <a:gd name="T7" fmla="*/ 0 h 18"/>
                <a:gd name="T8" fmla="*/ 0 w 252"/>
                <a:gd name="T9" fmla="*/ 0 h 18"/>
              </a:gdLst>
              <a:ahLst/>
              <a:cxnLst>
                <a:cxn ang="0">
                  <a:pos x="T0" y="T1"/>
                </a:cxn>
                <a:cxn ang="0">
                  <a:pos x="T2" y="T3"/>
                </a:cxn>
                <a:cxn ang="0">
                  <a:pos x="T4" y="T5"/>
                </a:cxn>
                <a:cxn ang="0">
                  <a:pos x="T6" y="T7"/>
                </a:cxn>
                <a:cxn ang="0">
                  <a:pos x="T8" y="T9"/>
                </a:cxn>
              </a:cxnLst>
              <a:rect l="0" t="0" r="r" b="b"/>
              <a:pathLst>
                <a:path w="252" h="18">
                  <a:moveTo>
                    <a:pt x="0" y="0"/>
                  </a:moveTo>
                  <a:cubicBezTo>
                    <a:pt x="2" y="10"/>
                    <a:pt x="11" y="18"/>
                    <a:pt x="22" y="18"/>
                  </a:cubicBezTo>
                  <a:cubicBezTo>
                    <a:pt x="230" y="18"/>
                    <a:pt x="230" y="18"/>
                    <a:pt x="230" y="18"/>
                  </a:cubicBezTo>
                  <a:cubicBezTo>
                    <a:pt x="241" y="18"/>
                    <a:pt x="250" y="10"/>
                    <a:pt x="252" y="0"/>
                  </a:cubicBezTo>
                  <a:lnTo>
                    <a:pt x="0" y="0"/>
                  </a:lnTo>
                  <a:close/>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0" name="Rectangle 52">
              <a:extLst>
                <a:ext uri="{FF2B5EF4-FFF2-40B4-BE49-F238E27FC236}">
                  <a16:creationId xmlns:a16="http://schemas.microsoft.com/office/drawing/2014/main" id="{B1584DD0-1C5F-CC41-91E4-DFCADCA5CFE7}"/>
                </a:ext>
              </a:extLst>
            </p:cNvPr>
            <p:cNvSpPr>
              <a:spLocks noChangeArrowheads="1"/>
            </p:cNvSpPr>
            <p:nvPr/>
          </p:nvSpPr>
          <p:spPr bwMode="auto">
            <a:xfrm>
              <a:off x="2793185" y="3160199"/>
              <a:ext cx="8333660" cy="5263032"/>
            </a:xfrm>
            <a:prstGeom prst="rect">
              <a:avLst/>
            </a:prstGeom>
            <a:solidFill>
              <a:srgbClr val="0C0D1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1" name="Rectangle 53">
              <a:extLst>
                <a:ext uri="{FF2B5EF4-FFF2-40B4-BE49-F238E27FC236}">
                  <a16:creationId xmlns:a16="http://schemas.microsoft.com/office/drawing/2014/main" id="{26A4751B-53FC-1045-BDF6-16BBB0EFB542}"/>
                </a:ext>
              </a:extLst>
            </p:cNvPr>
            <p:cNvSpPr>
              <a:spLocks noChangeArrowheads="1"/>
            </p:cNvSpPr>
            <p:nvPr/>
          </p:nvSpPr>
          <p:spPr bwMode="auto">
            <a:xfrm>
              <a:off x="2818457" y="3191788"/>
              <a:ext cx="8276794" cy="520616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2" name="Oval 54">
              <a:extLst>
                <a:ext uri="{FF2B5EF4-FFF2-40B4-BE49-F238E27FC236}">
                  <a16:creationId xmlns:a16="http://schemas.microsoft.com/office/drawing/2014/main" id="{46A9BD66-0323-1547-8BB3-5113A72A6F75}"/>
                </a:ext>
              </a:extLst>
            </p:cNvPr>
            <p:cNvSpPr>
              <a:spLocks noChangeArrowheads="1"/>
            </p:cNvSpPr>
            <p:nvPr/>
          </p:nvSpPr>
          <p:spPr bwMode="auto">
            <a:xfrm>
              <a:off x="6906311" y="2939061"/>
              <a:ext cx="94774" cy="94774"/>
            </a:xfrm>
            <a:prstGeom prst="ellipse">
              <a:avLst/>
            </a:prstGeom>
            <a:solidFill>
              <a:srgbClr val="2C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3" name="Oval 55">
              <a:extLst>
                <a:ext uri="{FF2B5EF4-FFF2-40B4-BE49-F238E27FC236}">
                  <a16:creationId xmlns:a16="http://schemas.microsoft.com/office/drawing/2014/main" id="{4685915F-7E90-D841-8D09-E922D3E66E1B}"/>
                </a:ext>
              </a:extLst>
            </p:cNvPr>
            <p:cNvSpPr>
              <a:spLocks noChangeArrowheads="1"/>
            </p:cNvSpPr>
            <p:nvPr/>
          </p:nvSpPr>
          <p:spPr bwMode="auto">
            <a:xfrm>
              <a:off x="6906311" y="2932745"/>
              <a:ext cx="94774" cy="88454"/>
            </a:xfrm>
            <a:prstGeom prst="ellipse">
              <a:avLst/>
            </a:prstGeom>
            <a:solidFill>
              <a:srgbClr val="0A0A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4" name="Oval 56">
              <a:extLst>
                <a:ext uri="{FF2B5EF4-FFF2-40B4-BE49-F238E27FC236}">
                  <a16:creationId xmlns:a16="http://schemas.microsoft.com/office/drawing/2014/main" id="{7E725D0B-112A-EA4F-93B8-FFEF8C395C54}"/>
                </a:ext>
              </a:extLst>
            </p:cNvPr>
            <p:cNvSpPr>
              <a:spLocks noChangeArrowheads="1"/>
            </p:cNvSpPr>
            <p:nvPr/>
          </p:nvSpPr>
          <p:spPr bwMode="auto">
            <a:xfrm>
              <a:off x="6925264" y="2945381"/>
              <a:ext cx="56865" cy="63182"/>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5" name="Oval 57">
              <a:extLst>
                <a:ext uri="{FF2B5EF4-FFF2-40B4-BE49-F238E27FC236}">
                  <a16:creationId xmlns:a16="http://schemas.microsoft.com/office/drawing/2014/main" id="{41E9301E-BF00-0941-9A36-BF7F22E3E402}"/>
                </a:ext>
              </a:extLst>
            </p:cNvPr>
            <p:cNvSpPr>
              <a:spLocks noChangeArrowheads="1"/>
            </p:cNvSpPr>
            <p:nvPr/>
          </p:nvSpPr>
          <p:spPr bwMode="auto">
            <a:xfrm>
              <a:off x="6937900" y="2964334"/>
              <a:ext cx="31593" cy="31593"/>
            </a:xfrm>
            <a:prstGeom prst="ellipse">
              <a:avLst/>
            </a:prstGeom>
            <a:solidFill>
              <a:srgbClr val="2C9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6" name="Freeform 58">
              <a:extLst>
                <a:ext uri="{FF2B5EF4-FFF2-40B4-BE49-F238E27FC236}">
                  <a16:creationId xmlns:a16="http://schemas.microsoft.com/office/drawing/2014/main" id="{7B9C9AF2-9B6A-3442-BA60-BD4E805DABB0}"/>
                </a:ext>
              </a:extLst>
            </p:cNvPr>
            <p:cNvSpPr>
              <a:spLocks/>
            </p:cNvSpPr>
            <p:nvPr/>
          </p:nvSpPr>
          <p:spPr bwMode="auto">
            <a:xfrm>
              <a:off x="6950536" y="2970654"/>
              <a:ext cx="6320" cy="12636"/>
            </a:xfrm>
            <a:custGeom>
              <a:avLst/>
              <a:gdLst>
                <a:gd name="T0" fmla="*/ 1 w 1"/>
                <a:gd name="T1" fmla="*/ 1 h 2"/>
                <a:gd name="T2" fmla="*/ 1 w 1"/>
                <a:gd name="T3" fmla="*/ 2 h 2"/>
                <a:gd name="T4" fmla="*/ 0 w 1"/>
                <a:gd name="T5" fmla="*/ 1 h 2"/>
                <a:gd name="T6" fmla="*/ 1 w 1"/>
                <a:gd name="T7" fmla="*/ 0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lnTo>
                    <a:pt x="1" y="2"/>
                  </a:lnTo>
                  <a:lnTo>
                    <a:pt x="0" y="1"/>
                  </a:lnTo>
                  <a:lnTo>
                    <a:pt x="1" y="0"/>
                  </a:ln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grpSp>
      <p:sp>
        <p:nvSpPr>
          <p:cNvPr id="47" name="Content Placeholder 7">
            <a:extLst>
              <a:ext uri="{FF2B5EF4-FFF2-40B4-BE49-F238E27FC236}">
                <a16:creationId xmlns:a16="http://schemas.microsoft.com/office/drawing/2014/main" id="{23D6392B-3712-F346-810F-E3D062058B95}"/>
              </a:ext>
            </a:extLst>
          </p:cNvPr>
          <p:cNvSpPr>
            <a:spLocks noGrp="1"/>
          </p:cNvSpPr>
          <p:nvPr>
            <p:ph sz="quarter" idx="16" hasCustomPrompt="1"/>
          </p:nvPr>
        </p:nvSpPr>
        <p:spPr>
          <a:xfrm>
            <a:off x="4637382" y="1378111"/>
            <a:ext cx="6988550" cy="4423278"/>
          </a:xfrm>
          <a:solidFill>
            <a:schemeClr val="accent6"/>
          </a:solidFill>
        </p:spPr>
        <p:txBody>
          <a:bodyPr anchor="ctr"/>
          <a:lstStyle>
            <a:lvl1pPr algn="ctr">
              <a:defRPr/>
            </a:lvl1pPr>
          </a:lstStyle>
          <a:p>
            <a:pPr lvl="0"/>
            <a:r>
              <a:rPr lang="en-US" dirty="0"/>
              <a:t>Add image / video / chart</a:t>
            </a:r>
          </a:p>
        </p:txBody>
      </p:sp>
    </p:spTree>
    <p:extLst>
      <p:ext uri="{BB962C8B-B14F-4D97-AF65-F5344CB8AC3E}">
        <p14:creationId xmlns:p14="http://schemas.microsoft.com/office/powerpoint/2010/main" val="36140535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Basic Slide – Title and Content">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dirty="0"/>
          </a:p>
        </p:txBody>
      </p:sp>
      <p:sp>
        <p:nvSpPr>
          <p:cNvPr id="30" name="Text Placeholder 6">
            <a:extLst>
              <a:ext uri="{FF2B5EF4-FFF2-40B4-BE49-F238E27FC236}">
                <a16:creationId xmlns:a16="http://schemas.microsoft.com/office/drawing/2014/main" id="{FE8B9BD2-8D43-AA4F-9513-5E8A89EA1977}"/>
              </a:ext>
            </a:extLst>
          </p:cNvPr>
          <p:cNvSpPr>
            <a:spLocks noGrp="1"/>
          </p:cNvSpPr>
          <p:nvPr>
            <p:ph type="body" sz="quarter" idx="13"/>
          </p:nvPr>
        </p:nvSpPr>
        <p:spPr>
          <a:xfrm>
            <a:off x="334433" y="2380912"/>
            <a:ext cx="5462023" cy="2073537"/>
          </a:xfrm>
        </p:spPr>
        <p:txBody>
          <a:bodyPr/>
          <a:lstStyle/>
          <a:p>
            <a:pPr lvl="0"/>
            <a:r>
              <a:rPr lang="en-US"/>
              <a:t>Click to edit Master text styles</a:t>
            </a:r>
          </a:p>
        </p:txBody>
      </p:sp>
      <p:sp>
        <p:nvSpPr>
          <p:cNvPr id="31" name="Title 2">
            <a:extLst>
              <a:ext uri="{FF2B5EF4-FFF2-40B4-BE49-F238E27FC236}">
                <a16:creationId xmlns:a16="http://schemas.microsoft.com/office/drawing/2014/main" id="{4D9866F2-94D8-E04C-A43A-226E03A56398}"/>
              </a:ext>
            </a:extLst>
          </p:cNvPr>
          <p:cNvSpPr>
            <a:spLocks noGrp="1"/>
          </p:cNvSpPr>
          <p:nvPr>
            <p:ph type="title" hasCustomPrompt="1"/>
          </p:nvPr>
        </p:nvSpPr>
        <p:spPr>
          <a:xfrm>
            <a:off x="334841" y="1057473"/>
            <a:ext cx="5461830" cy="1323439"/>
          </a:xfrm>
        </p:spPr>
        <p:txBody>
          <a:bodyPr wrap="square" anchor="t">
            <a:spAutoFit/>
          </a:bodyPr>
          <a:lstStyle>
            <a:lvl1pPr>
              <a:defRPr/>
            </a:lvl1pPr>
          </a:lstStyle>
          <a:p>
            <a:r>
              <a:rPr lang="en-US" dirty="0"/>
              <a:t>Click to edit Master title style Click to edit Master title style</a:t>
            </a:r>
            <a:endParaRPr lang="en-GB" dirty="0"/>
          </a:p>
        </p:txBody>
      </p:sp>
      <p:grpSp>
        <p:nvGrpSpPr>
          <p:cNvPr id="32" name="Group 31">
            <a:extLst>
              <a:ext uri="{FF2B5EF4-FFF2-40B4-BE49-F238E27FC236}">
                <a16:creationId xmlns:a16="http://schemas.microsoft.com/office/drawing/2014/main" id="{74FDD1D2-12BD-7A46-815F-A71B0C583912}"/>
              </a:ext>
            </a:extLst>
          </p:cNvPr>
          <p:cNvGrpSpPr/>
          <p:nvPr userDrawn="1"/>
        </p:nvGrpSpPr>
        <p:grpSpPr>
          <a:xfrm>
            <a:off x="5154202" y="1045452"/>
            <a:ext cx="9240864" cy="5318104"/>
            <a:chOff x="1371600" y="2743200"/>
            <a:chExt cx="11088379" cy="6381345"/>
          </a:xfrm>
        </p:grpSpPr>
        <p:sp>
          <p:nvSpPr>
            <p:cNvPr id="33" name="Freeform 45">
              <a:extLst>
                <a:ext uri="{FF2B5EF4-FFF2-40B4-BE49-F238E27FC236}">
                  <a16:creationId xmlns:a16="http://schemas.microsoft.com/office/drawing/2014/main" id="{9BFC3B9D-2435-3E42-B704-34288EDFD8AC}"/>
                </a:ext>
              </a:extLst>
            </p:cNvPr>
            <p:cNvSpPr>
              <a:spLocks/>
            </p:cNvSpPr>
            <p:nvPr/>
          </p:nvSpPr>
          <p:spPr bwMode="auto">
            <a:xfrm>
              <a:off x="1371600" y="8878135"/>
              <a:ext cx="5585257" cy="246410"/>
            </a:xfrm>
            <a:custGeom>
              <a:avLst/>
              <a:gdLst>
                <a:gd name="T0" fmla="*/ 0 w 885"/>
                <a:gd name="T1" fmla="*/ 16 h 39"/>
                <a:gd name="T2" fmla="*/ 78 w 885"/>
                <a:gd name="T3" fmla="*/ 39 h 39"/>
                <a:gd name="T4" fmla="*/ 885 w 885"/>
                <a:gd name="T5" fmla="*/ 39 h 39"/>
                <a:gd name="T6" fmla="*/ 885 w 885"/>
                <a:gd name="T7" fmla="*/ 0 h 39"/>
                <a:gd name="T8" fmla="*/ 0 w 885"/>
                <a:gd name="T9" fmla="*/ 0 h 39"/>
                <a:gd name="T10" fmla="*/ 0 w 885"/>
                <a:gd name="T11" fmla="*/ 16 h 39"/>
              </a:gdLst>
              <a:ahLst/>
              <a:cxnLst>
                <a:cxn ang="0">
                  <a:pos x="T0" y="T1"/>
                </a:cxn>
                <a:cxn ang="0">
                  <a:pos x="T2" y="T3"/>
                </a:cxn>
                <a:cxn ang="0">
                  <a:pos x="T4" y="T5"/>
                </a:cxn>
                <a:cxn ang="0">
                  <a:pos x="T6" y="T7"/>
                </a:cxn>
                <a:cxn ang="0">
                  <a:pos x="T8" y="T9"/>
                </a:cxn>
                <a:cxn ang="0">
                  <a:pos x="T10" y="T11"/>
                </a:cxn>
              </a:cxnLst>
              <a:rect l="0" t="0" r="r" b="b"/>
              <a:pathLst>
                <a:path w="885" h="39">
                  <a:moveTo>
                    <a:pt x="0" y="16"/>
                  </a:moveTo>
                  <a:cubicBezTo>
                    <a:pt x="0" y="23"/>
                    <a:pt x="30" y="39"/>
                    <a:pt x="78" y="39"/>
                  </a:cubicBezTo>
                  <a:cubicBezTo>
                    <a:pt x="126" y="39"/>
                    <a:pt x="885" y="39"/>
                    <a:pt x="885" y="39"/>
                  </a:cubicBezTo>
                  <a:cubicBezTo>
                    <a:pt x="885" y="0"/>
                    <a:pt x="885" y="0"/>
                    <a:pt x="885" y="0"/>
                  </a:cubicBezTo>
                  <a:cubicBezTo>
                    <a:pt x="0" y="0"/>
                    <a:pt x="0" y="0"/>
                    <a:pt x="0" y="0"/>
                  </a:cubicBezTo>
                  <a:lnTo>
                    <a:pt x="0" y="16"/>
                  </a:lnTo>
                  <a:close/>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4" name="Freeform 46">
              <a:extLst>
                <a:ext uri="{FF2B5EF4-FFF2-40B4-BE49-F238E27FC236}">
                  <a16:creationId xmlns:a16="http://schemas.microsoft.com/office/drawing/2014/main" id="{9EC980B3-7E34-C440-8CAC-7C2B772F5A82}"/>
                </a:ext>
              </a:extLst>
            </p:cNvPr>
            <p:cNvSpPr>
              <a:spLocks/>
            </p:cNvSpPr>
            <p:nvPr/>
          </p:nvSpPr>
          <p:spPr bwMode="auto">
            <a:xfrm>
              <a:off x="6874718" y="8878135"/>
              <a:ext cx="5585257" cy="246410"/>
            </a:xfrm>
            <a:custGeom>
              <a:avLst/>
              <a:gdLst>
                <a:gd name="T0" fmla="*/ 884 w 884"/>
                <a:gd name="T1" fmla="*/ 16 h 39"/>
                <a:gd name="T2" fmla="*/ 806 w 884"/>
                <a:gd name="T3" fmla="*/ 39 h 39"/>
                <a:gd name="T4" fmla="*/ 0 w 884"/>
                <a:gd name="T5" fmla="*/ 39 h 39"/>
                <a:gd name="T6" fmla="*/ 0 w 884"/>
                <a:gd name="T7" fmla="*/ 0 h 39"/>
                <a:gd name="T8" fmla="*/ 884 w 884"/>
                <a:gd name="T9" fmla="*/ 0 h 39"/>
                <a:gd name="T10" fmla="*/ 884 w 884"/>
                <a:gd name="T11" fmla="*/ 16 h 39"/>
              </a:gdLst>
              <a:ahLst/>
              <a:cxnLst>
                <a:cxn ang="0">
                  <a:pos x="T0" y="T1"/>
                </a:cxn>
                <a:cxn ang="0">
                  <a:pos x="T2" y="T3"/>
                </a:cxn>
                <a:cxn ang="0">
                  <a:pos x="T4" y="T5"/>
                </a:cxn>
                <a:cxn ang="0">
                  <a:pos x="T6" y="T7"/>
                </a:cxn>
                <a:cxn ang="0">
                  <a:pos x="T8" y="T9"/>
                </a:cxn>
                <a:cxn ang="0">
                  <a:pos x="T10" y="T11"/>
                </a:cxn>
              </a:cxnLst>
              <a:rect l="0" t="0" r="r" b="b"/>
              <a:pathLst>
                <a:path w="884" h="39">
                  <a:moveTo>
                    <a:pt x="884" y="16"/>
                  </a:moveTo>
                  <a:cubicBezTo>
                    <a:pt x="884" y="23"/>
                    <a:pt x="854" y="39"/>
                    <a:pt x="806" y="39"/>
                  </a:cubicBezTo>
                  <a:cubicBezTo>
                    <a:pt x="758" y="39"/>
                    <a:pt x="0" y="39"/>
                    <a:pt x="0" y="39"/>
                  </a:cubicBezTo>
                  <a:cubicBezTo>
                    <a:pt x="0" y="0"/>
                    <a:pt x="0" y="0"/>
                    <a:pt x="0" y="0"/>
                  </a:cubicBezTo>
                  <a:cubicBezTo>
                    <a:pt x="884" y="0"/>
                    <a:pt x="884" y="0"/>
                    <a:pt x="884" y="0"/>
                  </a:cubicBezTo>
                  <a:lnTo>
                    <a:pt x="884" y="16"/>
                  </a:lnTo>
                  <a:close/>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5" name="Freeform 47">
              <a:extLst>
                <a:ext uri="{FF2B5EF4-FFF2-40B4-BE49-F238E27FC236}">
                  <a16:creationId xmlns:a16="http://schemas.microsoft.com/office/drawing/2014/main" id="{01858D70-B776-054F-8429-4CC90713A929}"/>
                </a:ext>
              </a:extLst>
            </p:cNvPr>
            <p:cNvSpPr>
              <a:spLocks/>
            </p:cNvSpPr>
            <p:nvPr/>
          </p:nvSpPr>
          <p:spPr bwMode="auto">
            <a:xfrm>
              <a:off x="2464640" y="2743200"/>
              <a:ext cx="8984429" cy="6153891"/>
            </a:xfrm>
            <a:custGeom>
              <a:avLst/>
              <a:gdLst>
                <a:gd name="T0" fmla="*/ 1378 w 1423"/>
                <a:gd name="T1" fmla="*/ 0 h 974"/>
                <a:gd name="T2" fmla="*/ 45 w 1423"/>
                <a:gd name="T3" fmla="*/ 0 h 974"/>
                <a:gd name="T4" fmla="*/ 0 w 1423"/>
                <a:gd name="T5" fmla="*/ 45 h 974"/>
                <a:gd name="T6" fmla="*/ 0 w 1423"/>
                <a:gd name="T7" fmla="*/ 218 h 974"/>
                <a:gd name="T8" fmla="*/ 0 w 1423"/>
                <a:gd name="T9" fmla="*/ 929 h 974"/>
                <a:gd name="T10" fmla="*/ 45 w 1423"/>
                <a:gd name="T11" fmla="*/ 974 h 974"/>
                <a:gd name="T12" fmla="*/ 1378 w 1423"/>
                <a:gd name="T13" fmla="*/ 974 h 974"/>
                <a:gd name="T14" fmla="*/ 1423 w 1423"/>
                <a:gd name="T15" fmla="*/ 929 h 974"/>
                <a:gd name="T16" fmla="*/ 1423 w 1423"/>
                <a:gd name="T17" fmla="*/ 45 h 974"/>
                <a:gd name="T18" fmla="*/ 1378 w 1423"/>
                <a:gd name="T19" fmla="*/ 0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3" h="974">
                  <a:moveTo>
                    <a:pt x="1378" y="0"/>
                  </a:moveTo>
                  <a:cubicBezTo>
                    <a:pt x="45" y="0"/>
                    <a:pt x="45" y="0"/>
                    <a:pt x="45" y="0"/>
                  </a:cubicBezTo>
                  <a:cubicBezTo>
                    <a:pt x="20" y="0"/>
                    <a:pt x="0" y="20"/>
                    <a:pt x="0" y="45"/>
                  </a:cubicBezTo>
                  <a:cubicBezTo>
                    <a:pt x="0" y="218"/>
                    <a:pt x="0" y="218"/>
                    <a:pt x="0" y="218"/>
                  </a:cubicBezTo>
                  <a:cubicBezTo>
                    <a:pt x="0" y="929"/>
                    <a:pt x="0" y="929"/>
                    <a:pt x="0" y="929"/>
                  </a:cubicBezTo>
                  <a:cubicBezTo>
                    <a:pt x="0" y="954"/>
                    <a:pt x="20" y="974"/>
                    <a:pt x="45" y="974"/>
                  </a:cubicBezTo>
                  <a:cubicBezTo>
                    <a:pt x="1378" y="974"/>
                    <a:pt x="1378" y="974"/>
                    <a:pt x="1378" y="974"/>
                  </a:cubicBezTo>
                  <a:cubicBezTo>
                    <a:pt x="1403" y="974"/>
                    <a:pt x="1423" y="954"/>
                    <a:pt x="1423" y="929"/>
                  </a:cubicBezTo>
                  <a:cubicBezTo>
                    <a:pt x="1423" y="45"/>
                    <a:pt x="1423" y="45"/>
                    <a:pt x="1423" y="45"/>
                  </a:cubicBezTo>
                  <a:cubicBezTo>
                    <a:pt x="1423" y="20"/>
                    <a:pt x="1403" y="0"/>
                    <a:pt x="1378" y="0"/>
                  </a:cubicBezTo>
                  <a:close/>
                </a:path>
              </a:pathLst>
            </a:custGeom>
            <a:solidFill>
              <a:srgbClr val="D2D3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6" name="Freeform 48">
              <a:extLst>
                <a:ext uri="{FF2B5EF4-FFF2-40B4-BE49-F238E27FC236}">
                  <a16:creationId xmlns:a16="http://schemas.microsoft.com/office/drawing/2014/main" id="{38281977-5FB5-414A-A0F5-D9AFA0D49720}"/>
                </a:ext>
              </a:extLst>
            </p:cNvPr>
            <p:cNvSpPr>
              <a:spLocks/>
            </p:cNvSpPr>
            <p:nvPr/>
          </p:nvSpPr>
          <p:spPr bwMode="auto">
            <a:xfrm>
              <a:off x="2496233" y="2774789"/>
              <a:ext cx="8927567" cy="6090709"/>
            </a:xfrm>
            <a:custGeom>
              <a:avLst/>
              <a:gdLst>
                <a:gd name="T0" fmla="*/ 40 w 1414"/>
                <a:gd name="T1" fmla="*/ 964 h 964"/>
                <a:gd name="T2" fmla="*/ 0 w 1414"/>
                <a:gd name="T3" fmla="*/ 924 h 964"/>
                <a:gd name="T4" fmla="*/ 0 w 1414"/>
                <a:gd name="T5" fmla="*/ 40 h 964"/>
                <a:gd name="T6" fmla="*/ 40 w 1414"/>
                <a:gd name="T7" fmla="*/ 0 h 964"/>
                <a:gd name="T8" fmla="*/ 1373 w 1414"/>
                <a:gd name="T9" fmla="*/ 0 h 964"/>
                <a:gd name="T10" fmla="*/ 1414 w 1414"/>
                <a:gd name="T11" fmla="*/ 40 h 964"/>
                <a:gd name="T12" fmla="*/ 1414 w 1414"/>
                <a:gd name="T13" fmla="*/ 924 h 964"/>
                <a:gd name="T14" fmla="*/ 1373 w 1414"/>
                <a:gd name="T15" fmla="*/ 964 h 964"/>
                <a:gd name="T16" fmla="*/ 40 w 1414"/>
                <a:gd name="T17" fmla="*/ 964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964">
                  <a:moveTo>
                    <a:pt x="40" y="964"/>
                  </a:moveTo>
                  <a:cubicBezTo>
                    <a:pt x="18" y="964"/>
                    <a:pt x="0" y="946"/>
                    <a:pt x="0" y="924"/>
                  </a:cubicBezTo>
                  <a:cubicBezTo>
                    <a:pt x="0" y="40"/>
                    <a:pt x="0" y="40"/>
                    <a:pt x="0" y="40"/>
                  </a:cubicBezTo>
                  <a:cubicBezTo>
                    <a:pt x="0" y="18"/>
                    <a:pt x="18" y="0"/>
                    <a:pt x="40" y="0"/>
                  </a:cubicBezTo>
                  <a:cubicBezTo>
                    <a:pt x="1373" y="0"/>
                    <a:pt x="1373" y="0"/>
                    <a:pt x="1373" y="0"/>
                  </a:cubicBezTo>
                  <a:cubicBezTo>
                    <a:pt x="1396" y="0"/>
                    <a:pt x="1414" y="18"/>
                    <a:pt x="1414" y="40"/>
                  </a:cubicBezTo>
                  <a:cubicBezTo>
                    <a:pt x="1414" y="924"/>
                    <a:pt x="1414" y="924"/>
                    <a:pt x="1414" y="924"/>
                  </a:cubicBezTo>
                  <a:cubicBezTo>
                    <a:pt x="1414" y="946"/>
                    <a:pt x="1396" y="964"/>
                    <a:pt x="1373" y="964"/>
                  </a:cubicBezTo>
                  <a:lnTo>
                    <a:pt x="40" y="964"/>
                  </a:lnTo>
                  <a:close/>
                </a:path>
              </a:pathLst>
            </a:custGeom>
            <a:solidFill>
              <a:srgbClr val="1818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7" name="Freeform 49">
              <a:extLst>
                <a:ext uri="{FF2B5EF4-FFF2-40B4-BE49-F238E27FC236}">
                  <a16:creationId xmlns:a16="http://schemas.microsoft.com/office/drawing/2014/main" id="{D7F583DA-2165-5244-8262-4D7EB70C7F1D}"/>
                </a:ext>
              </a:extLst>
            </p:cNvPr>
            <p:cNvSpPr>
              <a:spLocks/>
            </p:cNvSpPr>
            <p:nvPr/>
          </p:nvSpPr>
          <p:spPr bwMode="auto">
            <a:xfrm>
              <a:off x="2496233" y="8606456"/>
              <a:ext cx="8927567" cy="259047"/>
            </a:xfrm>
            <a:custGeom>
              <a:avLst/>
              <a:gdLst>
                <a:gd name="T0" fmla="*/ 1414 w 1414"/>
                <a:gd name="T1" fmla="*/ 0 h 41"/>
                <a:gd name="T2" fmla="*/ 1396 w 1414"/>
                <a:gd name="T3" fmla="*/ 9 h 41"/>
                <a:gd name="T4" fmla="*/ 18 w 1414"/>
                <a:gd name="T5" fmla="*/ 9 h 41"/>
                <a:gd name="T6" fmla="*/ 0 w 1414"/>
                <a:gd name="T7" fmla="*/ 0 h 41"/>
                <a:gd name="T8" fmla="*/ 0 w 1414"/>
                <a:gd name="T9" fmla="*/ 1 h 41"/>
                <a:gd name="T10" fmla="*/ 40 w 1414"/>
                <a:gd name="T11" fmla="*/ 41 h 41"/>
                <a:gd name="T12" fmla="*/ 1373 w 1414"/>
                <a:gd name="T13" fmla="*/ 41 h 41"/>
                <a:gd name="T14" fmla="*/ 1414 w 1414"/>
                <a:gd name="T15" fmla="*/ 1 h 41"/>
                <a:gd name="T16" fmla="*/ 1414 w 1414"/>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41">
                  <a:moveTo>
                    <a:pt x="1414" y="0"/>
                  </a:moveTo>
                  <a:cubicBezTo>
                    <a:pt x="1409" y="6"/>
                    <a:pt x="1403" y="9"/>
                    <a:pt x="1396" y="9"/>
                  </a:cubicBezTo>
                  <a:cubicBezTo>
                    <a:pt x="18" y="9"/>
                    <a:pt x="18" y="9"/>
                    <a:pt x="18" y="9"/>
                  </a:cubicBezTo>
                  <a:cubicBezTo>
                    <a:pt x="10" y="9"/>
                    <a:pt x="4" y="6"/>
                    <a:pt x="0" y="0"/>
                  </a:cubicBezTo>
                  <a:cubicBezTo>
                    <a:pt x="0" y="1"/>
                    <a:pt x="0" y="1"/>
                    <a:pt x="0" y="1"/>
                  </a:cubicBezTo>
                  <a:cubicBezTo>
                    <a:pt x="0" y="23"/>
                    <a:pt x="18" y="41"/>
                    <a:pt x="40" y="41"/>
                  </a:cubicBezTo>
                  <a:cubicBezTo>
                    <a:pt x="1373" y="41"/>
                    <a:pt x="1373" y="41"/>
                    <a:pt x="1373" y="41"/>
                  </a:cubicBezTo>
                  <a:cubicBezTo>
                    <a:pt x="1396" y="41"/>
                    <a:pt x="1414" y="23"/>
                    <a:pt x="1414" y="1"/>
                  </a:cubicBezTo>
                  <a:lnTo>
                    <a:pt x="1414" y="0"/>
                  </a:lnTo>
                  <a:close/>
                </a:path>
              </a:pathLst>
            </a:custGeom>
            <a:solidFill>
              <a:srgbClr val="0C0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8" name="Rectangle 50">
              <a:extLst>
                <a:ext uri="{FF2B5EF4-FFF2-40B4-BE49-F238E27FC236}">
                  <a16:creationId xmlns:a16="http://schemas.microsoft.com/office/drawing/2014/main" id="{FA248812-79EE-BE4C-AB53-F574633D2554}"/>
                </a:ext>
              </a:extLst>
            </p:cNvPr>
            <p:cNvSpPr>
              <a:spLocks noChangeArrowheads="1"/>
            </p:cNvSpPr>
            <p:nvPr/>
          </p:nvSpPr>
          <p:spPr bwMode="auto">
            <a:xfrm>
              <a:off x="1371600" y="8777044"/>
              <a:ext cx="11088379" cy="202181"/>
            </a:xfrm>
            <a:prstGeom prst="rect">
              <a:avLst/>
            </a:prstGeom>
            <a:solidFill>
              <a:srgbClr val="D2D6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9" name="Freeform 51">
              <a:extLst>
                <a:ext uri="{FF2B5EF4-FFF2-40B4-BE49-F238E27FC236}">
                  <a16:creationId xmlns:a16="http://schemas.microsoft.com/office/drawing/2014/main" id="{02B43D5E-D027-CC4A-B0A1-4A8CAA2054D4}"/>
                </a:ext>
              </a:extLst>
            </p:cNvPr>
            <p:cNvSpPr>
              <a:spLocks/>
            </p:cNvSpPr>
            <p:nvPr/>
          </p:nvSpPr>
          <p:spPr bwMode="auto">
            <a:xfrm>
              <a:off x="6116539" y="8777044"/>
              <a:ext cx="1592177" cy="113727"/>
            </a:xfrm>
            <a:custGeom>
              <a:avLst/>
              <a:gdLst>
                <a:gd name="T0" fmla="*/ 0 w 252"/>
                <a:gd name="T1" fmla="*/ 0 h 18"/>
                <a:gd name="T2" fmla="*/ 22 w 252"/>
                <a:gd name="T3" fmla="*/ 18 h 18"/>
                <a:gd name="T4" fmla="*/ 230 w 252"/>
                <a:gd name="T5" fmla="*/ 18 h 18"/>
                <a:gd name="T6" fmla="*/ 252 w 252"/>
                <a:gd name="T7" fmla="*/ 0 h 18"/>
                <a:gd name="T8" fmla="*/ 0 w 252"/>
                <a:gd name="T9" fmla="*/ 0 h 18"/>
              </a:gdLst>
              <a:ahLst/>
              <a:cxnLst>
                <a:cxn ang="0">
                  <a:pos x="T0" y="T1"/>
                </a:cxn>
                <a:cxn ang="0">
                  <a:pos x="T2" y="T3"/>
                </a:cxn>
                <a:cxn ang="0">
                  <a:pos x="T4" y="T5"/>
                </a:cxn>
                <a:cxn ang="0">
                  <a:pos x="T6" y="T7"/>
                </a:cxn>
                <a:cxn ang="0">
                  <a:pos x="T8" y="T9"/>
                </a:cxn>
              </a:cxnLst>
              <a:rect l="0" t="0" r="r" b="b"/>
              <a:pathLst>
                <a:path w="252" h="18">
                  <a:moveTo>
                    <a:pt x="0" y="0"/>
                  </a:moveTo>
                  <a:cubicBezTo>
                    <a:pt x="2" y="10"/>
                    <a:pt x="11" y="18"/>
                    <a:pt x="22" y="18"/>
                  </a:cubicBezTo>
                  <a:cubicBezTo>
                    <a:pt x="230" y="18"/>
                    <a:pt x="230" y="18"/>
                    <a:pt x="230" y="18"/>
                  </a:cubicBezTo>
                  <a:cubicBezTo>
                    <a:pt x="241" y="18"/>
                    <a:pt x="250" y="10"/>
                    <a:pt x="252" y="0"/>
                  </a:cubicBezTo>
                  <a:lnTo>
                    <a:pt x="0" y="0"/>
                  </a:lnTo>
                  <a:close/>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0" name="Rectangle 52">
              <a:extLst>
                <a:ext uri="{FF2B5EF4-FFF2-40B4-BE49-F238E27FC236}">
                  <a16:creationId xmlns:a16="http://schemas.microsoft.com/office/drawing/2014/main" id="{B1584DD0-1C5F-CC41-91E4-DFCADCA5CFE7}"/>
                </a:ext>
              </a:extLst>
            </p:cNvPr>
            <p:cNvSpPr>
              <a:spLocks noChangeArrowheads="1"/>
            </p:cNvSpPr>
            <p:nvPr/>
          </p:nvSpPr>
          <p:spPr bwMode="auto">
            <a:xfrm>
              <a:off x="2793185" y="3160199"/>
              <a:ext cx="8333660" cy="5263032"/>
            </a:xfrm>
            <a:prstGeom prst="rect">
              <a:avLst/>
            </a:prstGeom>
            <a:solidFill>
              <a:srgbClr val="0C0D1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1" name="Rectangle 53">
              <a:extLst>
                <a:ext uri="{FF2B5EF4-FFF2-40B4-BE49-F238E27FC236}">
                  <a16:creationId xmlns:a16="http://schemas.microsoft.com/office/drawing/2014/main" id="{26A4751B-53FC-1045-BDF6-16BBB0EFB542}"/>
                </a:ext>
              </a:extLst>
            </p:cNvPr>
            <p:cNvSpPr>
              <a:spLocks noChangeArrowheads="1"/>
            </p:cNvSpPr>
            <p:nvPr/>
          </p:nvSpPr>
          <p:spPr bwMode="auto">
            <a:xfrm>
              <a:off x="2818457" y="3191788"/>
              <a:ext cx="8276794" cy="520616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2" name="Oval 54">
              <a:extLst>
                <a:ext uri="{FF2B5EF4-FFF2-40B4-BE49-F238E27FC236}">
                  <a16:creationId xmlns:a16="http://schemas.microsoft.com/office/drawing/2014/main" id="{46A9BD66-0323-1547-8BB3-5113A72A6F75}"/>
                </a:ext>
              </a:extLst>
            </p:cNvPr>
            <p:cNvSpPr>
              <a:spLocks noChangeArrowheads="1"/>
            </p:cNvSpPr>
            <p:nvPr/>
          </p:nvSpPr>
          <p:spPr bwMode="auto">
            <a:xfrm>
              <a:off x="6906311" y="2939061"/>
              <a:ext cx="94774" cy="94774"/>
            </a:xfrm>
            <a:prstGeom prst="ellipse">
              <a:avLst/>
            </a:prstGeom>
            <a:solidFill>
              <a:srgbClr val="2C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3" name="Oval 55">
              <a:extLst>
                <a:ext uri="{FF2B5EF4-FFF2-40B4-BE49-F238E27FC236}">
                  <a16:creationId xmlns:a16="http://schemas.microsoft.com/office/drawing/2014/main" id="{4685915F-7E90-D841-8D09-E922D3E66E1B}"/>
                </a:ext>
              </a:extLst>
            </p:cNvPr>
            <p:cNvSpPr>
              <a:spLocks noChangeArrowheads="1"/>
            </p:cNvSpPr>
            <p:nvPr/>
          </p:nvSpPr>
          <p:spPr bwMode="auto">
            <a:xfrm>
              <a:off x="6906311" y="2932745"/>
              <a:ext cx="94774" cy="88454"/>
            </a:xfrm>
            <a:prstGeom prst="ellipse">
              <a:avLst/>
            </a:prstGeom>
            <a:solidFill>
              <a:srgbClr val="0A0A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4" name="Oval 56">
              <a:extLst>
                <a:ext uri="{FF2B5EF4-FFF2-40B4-BE49-F238E27FC236}">
                  <a16:creationId xmlns:a16="http://schemas.microsoft.com/office/drawing/2014/main" id="{7E725D0B-112A-EA4F-93B8-FFEF8C395C54}"/>
                </a:ext>
              </a:extLst>
            </p:cNvPr>
            <p:cNvSpPr>
              <a:spLocks noChangeArrowheads="1"/>
            </p:cNvSpPr>
            <p:nvPr/>
          </p:nvSpPr>
          <p:spPr bwMode="auto">
            <a:xfrm>
              <a:off x="6925264" y="2945381"/>
              <a:ext cx="56865" cy="63182"/>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5" name="Oval 57">
              <a:extLst>
                <a:ext uri="{FF2B5EF4-FFF2-40B4-BE49-F238E27FC236}">
                  <a16:creationId xmlns:a16="http://schemas.microsoft.com/office/drawing/2014/main" id="{41E9301E-BF00-0941-9A36-BF7F22E3E402}"/>
                </a:ext>
              </a:extLst>
            </p:cNvPr>
            <p:cNvSpPr>
              <a:spLocks noChangeArrowheads="1"/>
            </p:cNvSpPr>
            <p:nvPr/>
          </p:nvSpPr>
          <p:spPr bwMode="auto">
            <a:xfrm>
              <a:off x="6937900" y="2964334"/>
              <a:ext cx="31593" cy="31593"/>
            </a:xfrm>
            <a:prstGeom prst="ellipse">
              <a:avLst/>
            </a:prstGeom>
            <a:solidFill>
              <a:srgbClr val="2C9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6" name="Freeform 58">
              <a:extLst>
                <a:ext uri="{FF2B5EF4-FFF2-40B4-BE49-F238E27FC236}">
                  <a16:creationId xmlns:a16="http://schemas.microsoft.com/office/drawing/2014/main" id="{7B9C9AF2-9B6A-3442-BA60-BD4E805DABB0}"/>
                </a:ext>
              </a:extLst>
            </p:cNvPr>
            <p:cNvSpPr>
              <a:spLocks/>
            </p:cNvSpPr>
            <p:nvPr/>
          </p:nvSpPr>
          <p:spPr bwMode="auto">
            <a:xfrm>
              <a:off x="6950536" y="2970654"/>
              <a:ext cx="6320" cy="12636"/>
            </a:xfrm>
            <a:custGeom>
              <a:avLst/>
              <a:gdLst>
                <a:gd name="T0" fmla="*/ 1 w 1"/>
                <a:gd name="T1" fmla="*/ 1 h 2"/>
                <a:gd name="T2" fmla="*/ 1 w 1"/>
                <a:gd name="T3" fmla="*/ 2 h 2"/>
                <a:gd name="T4" fmla="*/ 0 w 1"/>
                <a:gd name="T5" fmla="*/ 1 h 2"/>
                <a:gd name="T6" fmla="*/ 1 w 1"/>
                <a:gd name="T7" fmla="*/ 0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lnTo>
                    <a:pt x="1" y="2"/>
                  </a:lnTo>
                  <a:lnTo>
                    <a:pt x="0" y="1"/>
                  </a:lnTo>
                  <a:lnTo>
                    <a:pt x="1" y="0"/>
                  </a:ln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grpSp>
      <p:sp>
        <p:nvSpPr>
          <p:cNvPr id="47" name="Content Placeholder 7">
            <a:extLst>
              <a:ext uri="{FF2B5EF4-FFF2-40B4-BE49-F238E27FC236}">
                <a16:creationId xmlns:a16="http://schemas.microsoft.com/office/drawing/2014/main" id="{23D6392B-3712-F346-810F-E3D062058B95}"/>
              </a:ext>
            </a:extLst>
          </p:cNvPr>
          <p:cNvSpPr>
            <a:spLocks noGrp="1"/>
          </p:cNvSpPr>
          <p:nvPr>
            <p:ph sz="quarter" idx="16" hasCustomPrompt="1"/>
          </p:nvPr>
        </p:nvSpPr>
        <p:spPr>
          <a:xfrm>
            <a:off x="6315108" y="1378111"/>
            <a:ext cx="5945803" cy="4423278"/>
          </a:xfrm>
          <a:solidFill>
            <a:schemeClr val="accent6"/>
          </a:solidFill>
        </p:spPr>
        <p:txBody>
          <a:bodyPr anchor="ctr"/>
          <a:lstStyle>
            <a:lvl1pPr algn="ctr">
              <a:defRPr/>
            </a:lvl1pPr>
          </a:lstStyle>
          <a:p>
            <a:pPr lvl="0"/>
            <a:r>
              <a:rPr lang="en-US" dirty="0"/>
              <a:t>Add image / video / chart</a:t>
            </a:r>
          </a:p>
        </p:txBody>
      </p:sp>
    </p:spTree>
    <p:extLst>
      <p:ext uri="{BB962C8B-B14F-4D97-AF65-F5344CB8AC3E}">
        <p14:creationId xmlns:p14="http://schemas.microsoft.com/office/powerpoint/2010/main" val="32349140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Basic Slide – Title and Content">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dirty="0"/>
          </a:p>
        </p:txBody>
      </p:sp>
      <p:sp>
        <p:nvSpPr>
          <p:cNvPr id="30" name="Text Placeholder 6">
            <a:extLst>
              <a:ext uri="{FF2B5EF4-FFF2-40B4-BE49-F238E27FC236}">
                <a16:creationId xmlns:a16="http://schemas.microsoft.com/office/drawing/2014/main" id="{FE8B9BD2-8D43-AA4F-9513-5E8A89EA1977}"/>
              </a:ext>
            </a:extLst>
          </p:cNvPr>
          <p:cNvSpPr>
            <a:spLocks noGrp="1"/>
          </p:cNvSpPr>
          <p:nvPr>
            <p:ph type="body" sz="quarter" idx="13"/>
          </p:nvPr>
        </p:nvSpPr>
        <p:spPr>
          <a:xfrm>
            <a:off x="334433" y="2380912"/>
            <a:ext cx="5462023" cy="2073537"/>
          </a:xfrm>
        </p:spPr>
        <p:txBody>
          <a:bodyPr/>
          <a:lstStyle/>
          <a:p>
            <a:pPr lvl="0"/>
            <a:r>
              <a:rPr lang="en-US"/>
              <a:t>Click to edit Master text styles</a:t>
            </a:r>
          </a:p>
        </p:txBody>
      </p:sp>
      <p:sp>
        <p:nvSpPr>
          <p:cNvPr id="31" name="Title 2">
            <a:extLst>
              <a:ext uri="{FF2B5EF4-FFF2-40B4-BE49-F238E27FC236}">
                <a16:creationId xmlns:a16="http://schemas.microsoft.com/office/drawing/2014/main" id="{4D9866F2-94D8-E04C-A43A-226E03A56398}"/>
              </a:ext>
            </a:extLst>
          </p:cNvPr>
          <p:cNvSpPr>
            <a:spLocks noGrp="1"/>
          </p:cNvSpPr>
          <p:nvPr>
            <p:ph type="title" hasCustomPrompt="1"/>
          </p:nvPr>
        </p:nvSpPr>
        <p:spPr>
          <a:xfrm>
            <a:off x="334841" y="1057473"/>
            <a:ext cx="5461830" cy="1323439"/>
          </a:xfrm>
        </p:spPr>
        <p:txBody>
          <a:bodyPr wrap="square" anchor="t">
            <a:spAutoFit/>
          </a:bodyPr>
          <a:lstStyle>
            <a:lvl1pPr>
              <a:defRPr/>
            </a:lvl1pPr>
          </a:lstStyle>
          <a:p>
            <a:r>
              <a:rPr lang="en-US" dirty="0"/>
              <a:t>Click to edit Master title style Click to edit Master title style</a:t>
            </a:r>
            <a:endParaRPr lang="en-GB" dirty="0"/>
          </a:p>
        </p:txBody>
      </p:sp>
      <p:grpSp>
        <p:nvGrpSpPr>
          <p:cNvPr id="48" name="Группа 38">
            <a:extLst>
              <a:ext uri="{FF2B5EF4-FFF2-40B4-BE49-F238E27FC236}">
                <a16:creationId xmlns:a16="http://schemas.microsoft.com/office/drawing/2014/main" id="{67FB42FA-750B-B149-9858-6FC83183FDEB}"/>
              </a:ext>
            </a:extLst>
          </p:cNvPr>
          <p:cNvGrpSpPr/>
          <p:nvPr userDrawn="1"/>
        </p:nvGrpSpPr>
        <p:grpSpPr>
          <a:xfrm>
            <a:off x="7445593" y="352974"/>
            <a:ext cx="3435469" cy="6857709"/>
            <a:chOff x="3421706" y="1143000"/>
            <a:chExt cx="2530932" cy="5052117"/>
          </a:xfrm>
        </p:grpSpPr>
        <p:sp>
          <p:nvSpPr>
            <p:cNvPr id="49" name="Скругленный прямоугольник 39">
              <a:extLst>
                <a:ext uri="{FF2B5EF4-FFF2-40B4-BE49-F238E27FC236}">
                  <a16:creationId xmlns:a16="http://schemas.microsoft.com/office/drawing/2014/main" id="{4EBB11D3-0C44-1446-8073-EE2E56935020}"/>
                </a:ext>
              </a:extLst>
            </p:cNvPr>
            <p:cNvSpPr/>
            <p:nvPr userDrawn="1"/>
          </p:nvSpPr>
          <p:spPr>
            <a:xfrm>
              <a:off x="5772337" y="2057401"/>
              <a:ext cx="180301" cy="487680"/>
            </a:xfrm>
            <a:prstGeom prst="roundRect">
              <a:avLst/>
            </a:prstGeom>
            <a:solidFill>
              <a:srgbClr val="F8FAFB">
                <a:alpha val="30000"/>
              </a:srgbClr>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0" name="Скругленный прямоугольник 40">
              <a:extLst>
                <a:ext uri="{FF2B5EF4-FFF2-40B4-BE49-F238E27FC236}">
                  <a16:creationId xmlns:a16="http://schemas.microsoft.com/office/drawing/2014/main" id="{DA77B586-8E4D-4E4F-A83F-B67E5E0DB899}"/>
                </a:ext>
              </a:extLst>
            </p:cNvPr>
            <p:cNvSpPr/>
            <p:nvPr userDrawn="1"/>
          </p:nvSpPr>
          <p:spPr>
            <a:xfrm>
              <a:off x="3421706" y="1971500"/>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1" name="Скругленный прямоугольник 41">
              <a:extLst>
                <a:ext uri="{FF2B5EF4-FFF2-40B4-BE49-F238E27FC236}">
                  <a16:creationId xmlns:a16="http://schemas.microsoft.com/office/drawing/2014/main" id="{B404E059-5693-404D-B34A-32554C6DA0B1}"/>
                </a:ext>
              </a:extLst>
            </p:cNvPr>
            <p:cNvSpPr/>
            <p:nvPr userDrawn="1"/>
          </p:nvSpPr>
          <p:spPr>
            <a:xfrm>
              <a:off x="3421706" y="2530199"/>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2" name="Скругленный прямоугольник 42">
              <a:extLst>
                <a:ext uri="{FF2B5EF4-FFF2-40B4-BE49-F238E27FC236}">
                  <a16:creationId xmlns:a16="http://schemas.microsoft.com/office/drawing/2014/main" id="{20E55D01-8796-744A-9C8B-2631D483ADCB}"/>
                </a:ext>
              </a:extLst>
            </p:cNvPr>
            <p:cNvSpPr/>
            <p:nvPr userDrawn="1"/>
          </p:nvSpPr>
          <p:spPr>
            <a:xfrm>
              <a:off x="3421706" y="3041744"/>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3" name="Скругленный прямоугольник 43">
              <a:extLst>
                <a:ext uri="{FF2B5EF4-FFF2-40B4-BE49-F238E27FC236}">
                  <a16:creationId xmlns:a16="http://schemas.microsoft.com/office/drawing/2014/main" id="{9415F3D8-D606-084C-B5F5-C4938D475829}"/>
                </a:ext>
              </a:extLst>
            </p:cNvPr>
            <p:cNvSpPr/>
            <p:nvPr userDrawn="1"/>
          </p:nvSpPr>
          <p:spPr>
            <a:xfrm>
              <a:off x="3453659" y="1143000"/>
              <a:ext cx="2465281" cy="5052117"/>
            </a:xfrm>
            <a:prstGeom prst="roundRect">
              <a:avLst>
                <a:gd name="adj" fmla="val 13958"/>
              </a:avLst>
            </a:prstGeom>
            <a:solidFill>
              <a:schemeClr val="bg1"/>
            </a:solidFill>
            <a:ln w="19050" cap="flat" cmpd="sng" algn="ctr">
              <a:solidFill>
                <a:schemeClr val="accent5"/>
              </a:soli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4" name="Овал 44">
              <a:extLst>
                <a:ext uri="{FF2B5EF4-FFF2-40B4-BE49-F238E27FC236}">
                  <a16:creationId xmlns:a16="http://schemas.microsoft.com/office/drawing/2014/main" id="{7CE06365-91E5-9E4D-B333-674611F8D3CB}"/>
                </a:ext>
              </a:extLst>
            </p:cNvPr>
            <p:cNvSpPr/>
            <p:nvPr userDrawn="1"/>
          </p:nvSpPr>
          <p:spPr>
            <a:xfrm>
              <a:off x="4481234" y="5699769"/>
              <a:ext cx="410131" cy="406782"/>
            </a:xfrm>
            <a:prstGeom prst="ellipse">
              <a:avLst/>
            </a:prstGeom>
            <a:noFill/>
            <a:ln w="15875" cap="flat" cmpd="sng" algn="ctr">
              <a:gradFill flip="none" rotWithShape="1">
                <a:gsLst>
                  <a:gs pos="32000">
                    <a:srgbClr val="F8FAFB">
                      <a:lumMod val="65000"/>
                      <a:lumOff val="35000"/>
                    </a:srgbClr>
                  </a:gs>
                  <a:gs pos="71000">
                    <a:srgbClr val="000000">
                      <a:lumMod val="95000"/>
                    </a:srgbClr>
                  </a:gs>
                  <a:gs pos="0">
                    <a:srgbClr val="000000">
                      <a:lumMod val="65000"/>
                    </a:srgbClr>
                  </a:gs>
                  <a:gs pos="100000">
                    <a:srgbClr val="F8FAFB">
                      <a:lumMod val="95000"/>
                      <a:lumOff val="5000"/>
                    </a:srgbClr>
                  </a:gs>
                </a:gsLst>
                <a:lin ang="16200000" scaled="1"/>
                <a:tileRect/>
              </a:gra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5" name="Скругленный прямоугольник 45">
              <a:extLst>
                <a:ext uri="{FF2B5EF4-FFF2-40B4-BE49-F238E27FC236}">
                  <a16:creationId xmlns:a16="http://schemas.microsoft.com/office/drawing/2014/main" id="{A066967F-4B5B-9548-9B8E-A996DC6A99E7}"/>
                </a:ext>
              </a:extLst>
            </p:cNvPr>
            <p:cNvSpPr/>
            <p:nvPr userDrawn="1"/>
          </p:nvSpPr>
          <p:spPr>
            <a:xfrm>
              <a:off x="4441914" y="1457766"/>
              <a:ext cx="481663" cy="44909"/>
            </a:xfrm>
            <a:prstGeom prst="roundRect">
              <a:avLst>
                <a:gd name="adj" fmla="val 50000"/>
              </a:avLst>
            </a:prstGeom>
            <a:solidFill>
              <a:schemeClr val="tx1">
                <a:lumMod val="75000"/>
              </a:schemeClr>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7" name="Овал 46">
              <a:extLst>
                <a:ext uri="{FF2B5EF4-FFF2-40B4-BE49-F238E27FC236}">
                  <a16:creationId xmlns:a16="http://schemas.microsoft.com/office/drawing/2014/main" id="{55776EA5-6B37-7A4B-BE45-23A41FB6650E}"/>
                </a:ext>
              </a:extLst>
            </p:cNvPr>
            <p:cNvSpPr/>
            <p:nvPr userDrawn="1"/>
          </p:nvSpPr>
          <p:spPr>
            <a:xfrm flipH="1">
              <a:off x="4287288" y="1451578"/>
              <a:ext cx="59518" cy="58098"/>
            </a:xfrm>
            <a:prstGeom prst="ellipse">
              <a:avLst/>
            </a:prstGeom>
            <a:solidFill>
              <a:schemeClr val="tx1">
                <a:lumMod val="75000"/>
              </a:schemeClr>
            </a:solidFill>
            <a:ln w="508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8" name="Овал 47">
              <a:extLst>
                <a:ext uri="{FF2B5EF4-FFF2-40B4-BE49-F238E27FC236}">
                  <a16:creationId xmlns:a16="http://schemas.microsoft.com/office/drawing/2014/main" id="{2CDB0D6A-C31A-5046-B2C3-F28F04805664}"/>
                </a:ext>
              </a:extLst>
            </p:cNvPr>
            <p:cNvSpPr/>
            <p:nvPr userDrawn="1"/>
          </p:nvSpPr>
          <p:spPr>
            <a:xfrm flipH="1">
              <a:off x="4656540" y="1271335"/>
              <a:ext cx="59518" cy="58098"/>
            </a:xfrm>
            <a:prstGeom prst="ellipse">
              <a:avLst/>
            </a:prstGeom>
            <a:solidFill>
              <a:schemeClr val="tx1">
                <a:lumMod val="75000"/>
              </a:schemeClr>
            </a:solidFill>
            <a:ln w="508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grpSp>
      <p:sp>
        <p:nvSpPr>
          <p:cNvPr id="59" name="Picture Placeholder 3">
            <a:extLst>
              <a:ext uri="{FF2B5EF4-FFF2-40B4-BE49-F238E27FC236}">
                <a16:creationId xmlns:a16="http://schemas.microsoft.com/office/drawing/2014/main" id="{EDE6A267-2956-DB4A-A0BD-EE903D5A349F}"/>
              </a:ext>
            </a:extLst>
          </p:cNvPr>
          <p:cNvSpPr>
            <a:spLocks noGrp="1"/>
          </p:cNvSpPr>
          <p:nvPr>
            <p:ph type="pic" sz="quarter" idx="15" hasCustomPrompt="1"/>
          </p:nvPr>
        </p:nvSpPr>
        <p:spPr>
          <a:xfrm>
            <a:off x="7653717" y="1024896"/>
            <a:ext cx="3019221" cy="5345355"/>
          </a:xfrm>
          <a:prstGeom prst="rect">
            <a:avLst/>
          </a:prstGeom>
          <a:solidFill>
            <a:schemeClr val="accent6"/>
          </a:solidFill>
        </p:spPr>
        <p:txBody>
          <a:bodyPr anchor="ctr"/>
          <a:lstStyle>
            <a:lvl1pPr marL="0" indent="0" algn="ctr">
              <a:buNone/>
              <a:defRPr b="0" i="0" baseline="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an image here</a:t>
            </a:r>
          </a:p>
        </p:txBody>
      </p:sp>
    </p:spTree>
    <p:extLst>
      <p:ext uri="{BB962C8B-B14F-4D97-AF65-F5344CB8AC3E}">
        <p14:creationId xmlns:p14="http://schemas.microsoft.com/office/powerpoint/2010/main" val="18018741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Basic Slide – Title and Content">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dirty="0"/>
          </a:p>
        </p:txBody>
      </p:sp>
      <p:sp>
        <p:nvSpPr>
          <p:cNvPr id="30" name="Text Placeholder 6">
            <a:extLst>
              <a:ext uri="{FF2B5EF4-FFF2-40B4-BE49-F238E27FC236}">
                <a16:creationId xmlns:a16="http://schemas.microsoft.com/office/drawing/2014/main" id="{FE8B9BD2-8D43-AA4F-9513-5E8A89EA1977}"/>
              </a:ext>
            </a:extLst>
          </p:cNvPr>
          <p:cNvSpPr>
            <a:spLocks noGrp="1"/>
          </p:cNvSpPr>
          <p:nvPr>
            <p:ph type="body" sz="quarter" idx="13"/>
          </p:nvPr>
        </p:nvSpPr>
        <p:spPr>
          <a:xfrm>
            <a:off x="334434" y="2380912"/>
            <a:ext cx="3304538" cy="2073537"/>
          </a:xfrm>
        </p:spPr>
        <p:txBody>
          <a:bodyPr/>
          <a:lstStyle/>
          <a:p>
            <a:pPr lvl="0"/>
            <a:r>
              <a:rPr lang="en-US"/>
              <a:t>Click to edit Master text styles</a:t>
            </a:r>
          </a:p>
        </p:txBody>
      </p:sp>
      <p:sp>
        <p:nvSpPr>
          <p:cNvPr id="31" name="Title 2">
            <a:extLst>
              <a:ext uri="{FF2B5EF4-FFF2-40B4-BE49-F238E27FC236}">
                <a16:creationId xmlns:a16="http://schemas.microsoft.com/office/drawing/2014/main" id="{4D9866F2-94D8-E04C-A43A-226E03A56398}"/>
              </a:ext>
            </a:extLst>
          </p:cNvPr>
          <p:cNvSpPr>
            <a:spLocks noGrp="1"/>
          </p:cNvSpPr>
          <p:nvPr>
            <p:ph type="title"/>
          </p:nvPr>
        </p:nvSpPr>
        <p:spPr>
          <a:xfrm>
            <a:off x="334841" y="1057473"/>
            <a:ext cx="3312485" cy="1323439"/>
          </a:xfrm>
        </p:spPr>
        <p:txBody>
          <a:bodyPr wrap="square" anchor="t">
            <a:spAutoFit/>
          </a:bodyPr>
          <a:lstStyle>
            <a:lvl1pPr>
              <a:defRPr/>
            </a:lvl1pPr>
          </a:lstStyle>
          <a:p>
            <a:r>
              <a:rPr lang="en-US"/>
              <a:t>Click to edit Master title style</a:t>
            </a:r>
            <a:endParaRPr lang="en-GB" dirty="0"/>
          </a:p>
        </p:txBody>
      </p:sp>
      <p:grpSp>
        <p:nvGrpSpPr>
          <p:cNvPr id="48" name="Группа 38">
            <a:extLst>
              <a:ext uri="{FF2B5EF4-FFF2-40B4-BE49-F238E27FC236}">
                <a16:creationId xmlns:a16="http://schemas.microsoft.com/office/drawing/2014/main" id="{67FB42FA-750B-B149-9858-6FC83183FDEB}"/>
              </a:ext>
            </a:extLst>
          </p:cNvPr>
          <p:cNvGrpSpPr/>
          <p:nvPr userDrawn="1"/>
        </p:nvGrpSpPr>
        <p:grpSpPr>
          <a:xfrm>
            <a:off x="9273171" y="964908"/>
            <a:ext cx="2583988" cy="5158025"/>
            <a:chOff x="3421706" y="1143000"/>
            <a:chExt cx="2530932" cy="5052117"/>
          </a:xfrm>
        </p:grpSpPr>
        <p:sp>
          <p:nvSpPr>
            <p:cNvPr id="49" name="Скругленный прямоугольник 39">
              <a:extLst>
                <a:ext uri="{FF2B5EF4-FFF2-40B4-BE49-F238E27FC236}">
                  <a16:creationId xmlns:a16="http://schemas.microsoft.com/office/drawing/2014/main" id="{4EBB11D3-0C44-1446-8073-EE2E56935020}"/>
                </a:ext>
              </a:extLst>
            </p:cNvPr>
            <p:cNvSpPr/>
            <p:nvPr userDrawn="1"/>
          </p:nvSpPr>
          <p:spPr>
            <a:xfrm>
              <a:off x="5772337" y="2057401"/>
              <a:ext cx="180301" cy="487680"/>
            </a:xfrm>
            <a:prstGeom prst="roundRect">
              <a:avLst/>
            </a:prstGeom>
            <a:solidFill>
              <a:srgbClr val="F8FAFB">
                <a:alpha val="30000"/>
              </a:srgbClr>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0" name="Скругленный прямоугольник 40">
              <a:extLst>
                <a:ext uri="{FF2B5EF4-FFF2-40B4-BE49-F238E27FC236}">
                  <a16:creationId xmlns:a16="http://schemas.microsoft.com/office/drawing/2014/main" id="{DA77B586-8E4D-4E4F-A83F-B67E5E0DB899}"/>
                </a:ext>
              </a:extLst>
            </p:cNvPr>
            <p:cNvSpPr/>
            <p:nvPr userDrawn="1"/>
          </p:nvSpPr>
          <p:spPr>
            <a:xfrm>
              <a:off x="3421706" y="1971500"/>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1" name="Скругленный прямоугольник 41">
              <a:extLst>
                <a:ext uri="{FF2B5EF4-FFF2-40B4-BE49-F238E27FC236}">
                  <a16:creationId xmlns:a16="http://schemas.microsoft.com/office/drawing/2014/main" id="{B404E059-5693-404D-B34A-32554C6DA0B1}"/>
                </a:ext>
              </a:extLst>
            </p:cNvPr>
            <p:cNvSpPr/>
            <p:nvPr userDrawn="1"/>
          </p:nvSpPr>
          <p:spPr>
            <a:xfrm>
              <a:off x="3421706" y="2530199"/>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2" name="Скругленный прямоугольник 42">
              <a:extLst>
                <a:ext uri="{FF2B5EF4-FFF2-40B4-BE49-F238E27FC236}">
                  <a16:creationId xmlns:a16="http://schemas.microsoft.com/office/drawing/2014/main" id="{20E55D01-8796-744A-9C8B-2631D483ADCB}"/>
                </a:ext>
              </a:extLst>
            </p:cNvPr>
            <p:cNvSpPr/>
            <p:nvPr userDrawn="1"/>
          </p:nvSpPr>
          <p:spPr>
            <a:xfrm>
              <a:off x="3421706" y="3041744"/>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3" name="Скругленный прямоугольник 43">
              <a:extLst>
                <a:ext uri="{FF2B5EF4-FFF2-40B4-BE49-F238E27FC236}">
                  <a16:creationId xmlns:a16="http://schemas.microsoft.com/office/drawing/2014/main" id="{9415F3D8-D606-084C-B5F5-C4938D475829}"/>
                </a:ext>
              </a:extLst>
            </p:cNvPr>
            <p:cNvSpPr/>
            <p:nvPr userDrawn="1"/>
          </p:nvSpPr>
          <p:spPr>
            <a:xfrm>
              <a:off x="3453659" y="1143000"/>
              <a:ext cx="2465281" cy="5052117"/>
            </a:xfrm>
            <a:prstGeom prst="roundRect">
              <a:avLst>
                <a:gd name="adj" fmla="val 13958"/>
              </a:avLst>
            </a:prstGeom>
            <a:solidFill>
              <a:schemeClr val="bg1"/>
            </a:solidFill>
            <a:ln w="19050" cap="flat" cmpd="sng" algn="ctr">
              <a:solidFill>
                <a:schemeClr val="accent5"/>
              </a:soli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4" name="Овал 44">
              <a:extLst>
                <a:ext uri="{FF2B5EF4-FFF2-40B4-BE49-F238E27FC236}">
                  <a16:creationId xmlns:a16="http://schemas.microsoft.com/office/drawing/2014/main" id="{7CE06365-91E5-9E4D-B333-674611F8D3CB}"/>
                </a:ext>
              </a:extLst>
            </p:cNvPr>
            <p:cNvSpPr/>
            <p:nvPr userDrawn="1"/>
          </p:nvSpPr>
          <p:spPr>
            <a:xfrm>
              <a:off x="4481234" y="5699769"/>
              <a:ext cx="410131" cy="406782"/>
            </a:xfrm>
            <a:prstGeom prst="ellipse">
              <a:avLst/>
            </a:prstGeom>
            <a:noFill/>
            <a:ln w="15875" cap="flat" cmpd="sng" algn="ctr">
              <a:gradFill flip="none" rotWithShape="1">
                <a:gsLst>
                  <a:gs pos="32000">
                    <a:srgbClr val="F8FAFB">
                      <a:lumMod val="65000"/>
                      <a:lumOff val="35000"/>
                    </a:srgbClr>
                  </a:gs>
                  <a:gs pos="71000">
                    <a:srgbClr val="000000">
                      <a:lumMod val="95000"/>
                    </a:srgbClr>
                  </a:gs>
                  <a:gs pos="0">
                    <a:srgbClr val="000000">
                      <a:lumMod val="65000"/>
                    </a:srgbClr>
                  </a:gs>
                  <a:gs pos="100000">
                    <a:srgbClr val="F8FAFB">
                      <a:lumMod val="95000"/>
                      <a:lumOff val="5000"/>
                    </a:srgbClr>
                  </a:gs>
                </a:gsLst>
                <a:lin ang="16200000" scaled="1"/>
                <a:tileRect/>
              </a:gra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5" name="Скругленный прямоугольник 45">
              <a:extLst>
                <a:ext uri="{FF2B5EF4-FFF2-40B4-BE49-F238E27FC236}">
                  <a16:creationId xmlns:a16="http://schemas.microsoft.com/office/drawing/2014/main" id="{A066967F-4B5B-9548-9B8E-A996DC6A99E7}"/>
                </a:ext>
              </a:extLst>
            </p:cNvPr>
            <p:cNvSpPr/>
            <p:nvPr userDrawn="1"/>
          </p:nvSpPr>
          <p:spPr>
            <a:xfrm>
              <a:off x="4441914" y="1457766"/>
              <a:ext cx="481663" cy="44909"/>
            </a:xfrm>
            <a:prstGeom prst="roundRect">
              <a:avLst>
                <a:gd name="adj" fmla="val 50000"/>
              </a:avLst>
            </a:prstGeom>
            <a:solidFill>
              <a:schemeClr val="tx1">
                <a:lumMod val="75000"/>
              </a:schemeClr>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7" name="Овал 46">
              <a:extLst>
                <a:ext uri="{FF2B5EF4-FFF2-40B4-BE49-F238E27FC236}">
                  <a16:creationId xmlns:a16="http://schemas.microsoft.com/office/drawing/2014/main" id="{55776EA5-6B37-7A4B-BE45-23A41FB6650E}"/>
                </a:ext>
              </a:extLst>
            </p:cNvPr>
            <p:cNvSpPr/>
            <p:nvPr userDrawn="1"/>
          </p:nvSpPr>
          <p:spPr>
            <a:xfrm flipH="1">
              <a:off x="4287288" y="1451578"/>
              <a:ext cx="59518" cy="58098"/>
            </a:xfrm>
            <a:prstGeom prst="ellipse">
              <a:avLst/>
            </a:prstGeom>
            <a:solidFill>
              <a:schemeClr val="tx1">
                <a:lumMod val="75000"/>
              </a:schemeClr>
            </a:solidFill>
            <a:ln w="508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8" name="Овал 47">
              <a:extLst>
                <a:ext uri="{FF2B5EF4-FFF2-40B4-BE49-F238E27FC236}">
                  <a16:creationId xmlns:a16="http://schemas.microsoft.com/office/drawing/2014/main" id="{2CDB0D6A-C31A-5046-B2C3-F28F04805664}"/>
                </a:ext>
              </a:extLst>
            </p:cNvPr>
            <p:cNvSpPr/>
            <p:nvPr userDrawn="1"/>
          </p:nvSpPr>
          <p:spPr>
            <a:xfrm flipH="1">
              <a:off x="4656540" y="1271335"/>
              <a:ext cx="59518" cy="58098"/>
            </a:xfrm>
            <a:prstGeom prst="ellipse">
              <a:avLst/>
            </a:prstGeom>
            <a:solidFill>
              <a:schemeClr val="tx1">
                <a:lumMod val="75000"/>
              </a:schemeClr>
            </a:solidFill>
            <a:ln w="508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grpSp>
      <p:sp>
        <p:nvSpPr>
          <p:cNvPr id="59" name="Picture Placeholder 3">
            <a:extLst>
              <a:ext uri="{FF2B5EF4-FFF2-40B4-BE49-F238E27FC236}">
                <a16:creationId xmlns:a16="http://schemas.microsoft.com/office/drawing/2014/main" id="{EDE6A267-2956-DB4A-A0BD-EE903D5A349F}"/>
              </a:ext>
            </a:extLst>
          </p:cNvPr>
          <p:cNvSpPr>
            <a:spLocks noGrp="1"/>
          </p:cNvSpPr>
          <p:nvPr>
            <p:ph type="pic" sz="quarter" idx="15" hasCustomPrompt="1"/>
          </p:nvPr>
        </p:nvSpPr>
        <p:spPr>
          <a:xfrm>
            <a:off x="9422736" y="1586142"/>
            <a:ext cx="2270907" cy="4020508"/>
          </a:xfrm>
          <a:prstGeom prst="rect">
            <a:avLst/>
          </a:prstGeom>
          <a:solidFill>
            <a:schemeClr val="accent6"/>
          </a:solidFill>
        </p:spPr>
        <p:txBody>
          <a:bodyPr anchor="ctr"/>
          <a:lstStyle>
            <a:lvl1pPr marL="0" indent="0" algn="ctr">
              <a:buNone/>
              <a:defRPr b="0" i="0" baseline="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an image here</a:t>
            </a:r>
          </a:p>
        </p:txBody>
      </p:sp>
      <p:grpSp>
        <p:nvGrpSpPr>
          <p:cNvPr id="35" name="Группа 38">
            <a:extLst>
              <a:ext uri="{FF2B5EF4-FFF2-40B4-BE49-F238E27FC236}">
                <a16:creationId xmlns:a16="http://schemas.microsoft.com/office/drawing/2014/main" id="{6FB0004C-3228-954E-8676-BEF80BE0BE00}"/>
              </a:ext>
            </a:extLst>
          </p:cNvPr>
          <p:cNvGrpSpPr/>
          <p:nvPr userDrawn="1"/>
        </p:nvGrpSpPr>
        <p:grpSpPr>
          <a:xfrm>
            <a:off x="6556681" y="964908"/>
            <a:ext cx="2583988" cy="5158025"/>
            <a:chOff x="3421706" y="1143000"/>
            <a:chExt cx="2530932" cy="5052117"/>
          </a:xfrm>
        </p:grpSpPr>
        <p:sp>
          <p:nvSpPr>
            <p:cNvPr id="36" name="Скругленный прямоугольник 39">
              <a:extLst>
                <a:ext uri="{FF2B5EF4-FFF2-40B4-BE49-F238E27FC236}">
                  <a16:creationId xmlns:a16="http://schemas.microsoft.com/office/drawing/2014/main" id="{AD2E7804-3F02-9742-A85C-B453D4F83CD9}"/>
                </a:ext>
              </a:extLst>
            </p:cNvPr>
            <p:cNvSpPr/>
            <p:nvPr userDrawn="1"/>
          </p:nvSpPr>
          <p:spPr>
            <a:xfrm>
              <a:off x="5772337" y="2057401"/>
              <a:ext cx="180301" cy="487680"/>
            </a:xfrm>
            <a:prstGeom prst="roundRect">
              <a:avLst/>
            </a:prstGeom>
            <a:solidFill>
              <a:srgbClr val="F8FAFB">
                <a:alpha val="30000"/>
              </a:srgbClr>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37" name="Скругленный прямоугольник 40">
              <a:extLst>
                <a:ext uri="{FF2B5EF4-FFF2-40B4-BE49-F238E27FC236}">
                  <a16:creationId xmlns:a16="http://schemas.microsoft.com/office/drawing/2014/main" id="{EA77677D-6783-614B-9294-B04F8A112ABA}"/>
                </a:ext>
              </a:extLst>
            </p:cNvPr>
            <p:cNvSpPr/>
            <p:nvPr userDrawn="1"/>
          </p:nvSpPr>
          <p:spPr>
            <a:xfrm>
              <a:off x="3421706" y="1971500"/>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38" name="Скругленный прямоугольник 41">
              <a:extLst>
                <a:ext uri="{FF2B5EF4-FFF2-40B4-BE49-F238E27FC236}">
                  <a16:creationId xmlns:a16="http://schemas.microsoft.com/office/drawing/2014/main" id="{96A60EF0-89B5-7B4B-BD59-A9C9E414D48F}"/>
                </a:ext>
              </a:extLst>
            </p:cNvPr>
            <p:cNvSpPr/>
            <p:nvPr userDrawn="1"/>
          </p:nvSpPr>
          <p:spPr>
            <a:xfrm>
              <a:off x="3421706" y="2530199"/>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39" name="Скругленный прямоугольник 42">
              <a:extLst>
                <a:ext uri="{FF2B5EF4-FFF2-40B4-BE49-F238E27FC236}">
                  <a16:creationId xmlns:a16="http://schemas.microsoft.com/office/drawing/2014/main" id="{C199C177-7278-EB4C-96FD-012D4BCDE249}"/>
                </a:ext>
              </a:extLst>
            </p:cNvPr>
            <p:cNvSpPr/>
            <p:nvPr userDrawn="1"/>
          </p:nvSpPr>
          <p:spPr>
            <a:xfrm>
              <a:off x="3421706" y="3041744"/>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40" name="Скругленный прямоугольник 43">
              <a:extLst>
                <a:ext uri="{FF2B5EF4-FFF2-40B4-BE49-F238E27FC236}">
                  <a16:creationId xmlns:a16="http://schemas.microsoft.com/office/drawing/2014/main" id="{F5B2D027-2591-D442-908A-61549D54C8CD}"/>
                </a:ext>
              </a:extLst>
            </p:cNvPr>
            <p:cNvSpPr/>
            <p:nvPr userDrawn="1"/>
          </p:nvSpPr>
          <p:spPr>
            <a:xfrm>
              <a:off x="3453659" y="1143000"/>
              <a:ext cx="2465281" cy="5052117"/>
            </a:xfrm>
            <a:prstGeom prst="roundRect">
              <a:avLst>
                <a:gd name="adj" fmla="val 13958"/>
              </a:avLst>
            </a:prstGeom>
            <a:solidFill>
              <a:schemeClr val="bg1"/>
            </a:solidFill>
            <a:ln w="19050" cap="flat" cmpd="sng" algn="ctr">
              <a:solidFill>
                <a:schemeClr val="accent5"/>
              </a:soli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41" name="Овал 44">
              <a:extLst>
                <a:ext uri="{FF2B5EF4-FFF2-40B4-BE49-F238E27FC236}">
                  <a16:creationId xmlns:a16="http://schemas.microsoft.com/office/drawing/2014/main" id="{6424168B-7AB1-DC46-B4A1-4A041E0D441C}"/>
                </a:ext>
              </a:extLst>
            </p:cNvPr>
            <p:cNvSpPr/>
            <p:nvPr userDrawn="1"/>
          </p:nvSpPr>
          <p:spPr>
            <a:xfrm>
              <a:off x="4481234" y="5699769"/>
              <a:ext cx="410131" cy="406782"/>
            </a:xfrm>
            <a:prstGeom prst="ellipse">
              <a:avLst/>
            </a:prstGeom>
            <a:noFill/>
            <a:ln w="15875" cap="flat" cmpd="sng" algn="ctr">
              <a:gradFill flip="none" rotWithShape="1">
                <a:gsLst>
                  <a:gs pos="32000">
                    <a:srgbClr val="F8FAFB">
                      <a:lumMod val="65000"/>
                      <a:lumOff val="35000"/>
                    </a:srgbClr>
                  </a:gs>
                  <a:gs pos="71000">
                    <a:srgbClr val="000000">
                      <a:lumMod val="95000"/>
                    </a:srgbClr>
                  </a:gs>
                  <a:gs pos="0">
                    <a:srgbClr val="000000">
                      <a:lumMod val="65000"/>
                    </a:srgbClr>
                  </a:gs>
                  <a:gs pos="100000">
                    <a:srgbClr val="F8FAFB">
                      <a:lumMod val="95000"/>
                      <a:lumOff val="5000"/>
                    </a:srgbClr>
                  </a:gs>
                </a:gsLst>
                <a:lin ang="16200000" scaled="1"/>
                <a:tileRect/>
              </a:gra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42" name="Скругленный прямоугольник 45">
              <a:extLst>
                <a:ext uri="{FF2B5EF4-FFF2-40B4-BE49-F238E27FC236}">
                  <a16:creationId xmlns:a16="http://schemas.microsoft.com/office/drawing/2014/main" id="{1699FE27-2AF7-7941-BEA8-D3B976510334}"/>
                </a:ext>
              </a:extLst>
            </p:cNvPr>
            <p:cNvSpPr/>
            <p:nvPr userDrawn="1"/>
          </p:nvSpPr>
          <p:spPr>
            <a:xfrm>
              <a:off x="4441914" y="1457766"/>
              <a:ext cx="481663" cy="44909"/>
            </a:xfrm>
            <a:prstGeom prst="roundRect">
              <a:avLst>
                <a:gd name="adj" fmla="val 50000"/>
              </a:avLst>
            </a:prstGeom>
            <a:solidFill>
              <a:schemeClr val="tx1">
                <a:lumMod val="75000"/>
              </a:schemeClr>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43" name="Овал 46">
              <a:extLst>
                <a:ext uri="{FF2B5EF4-FFF2-40B4-BE49-F238E27FC236}">
                  <a16:creationId xmlns:a16="http://schemas.microsoft.com/office/drawing/2014/main" id="{DD3E476B-60A9-9441-B62C-AEC81D0984BB}"/>
                </a:ext>
              </a:extLst>
            </p:cNvPr>
            <p:cNvSpPr/>
            <p:nvPr userDrawn="1"/>
          </p:nvSpPr>
          <p:spPr>
            <a:xfrm flipH="1">
              <a:off x="4287288" y="1451578"/>
              <a:ext cx="59518" cy="58098"/>
            </a:xfrm>
            <a:prstGeom prst="ellipse">
              <a:avLst/>
            </a:prstGeom>
            <a:solidFill>
              <a:schemeClr val="tx1">
                <a:lumMod val="75000"/>
              </a:schemeClr>
            </a:solidFill>
            <a:ln w="508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44" name="Овал 47">
              <a:extLst>
                <a:ext uri="{FF2B5EF4-FFF2-40B4-BE49-F238E27FC236}">
                  <a16:creationId xmlns:a16="http://schemas.microsoft.com/office/drawing/2014/main" id="{EB6039B2-EE4B-6E42-BF2C-3812EA7B9CF2}"/>
                </a:ext>
              </a:extLst>
            </p:cNvPr>
            <p:cNvSpPr/>
            <p:nvPr userDrawn="1"/>
          </p:nvSpPr>
          <p:spPr>
            <a:xfrm flipH="1">
              <a:off x="4656540" y="1271335"/>
              <a:ext cx="59518" cy="58098"/>
            </a:xfrm>
            <a:prstGeom prst="ellipse">
              <a:avLst/>
            </a:prstGeom>
            <a:solidFill>
              <a:schemeClr val="tx1">
                <a:lumMod val="75000"/>
              </a:schemeClr>
            </a:solidFill>
            <a:ln w="508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grpSp>
      <p:sp>
        <p:nvSpPr>
          <p:cNvPr id="45" name="Picture Placeholder 3">
            <a:extLst>
              <a:ext uri="{FF2B5EF4-FFF2-40B4-BE49-F238E27FC236}">
                <a16:creationId xmlns:a16="http://schemas.microsoft.com/office/drawing/2014/main" id="{12A28670-71F9-9D4D-878D-51A33C7F4E13}"/>
              </a:ext>
            </a:extLst>
          </p:cNvPr>
          <p:cNvSpPr>
            <a:spLocks noGrp="1"/>
          </p:cNvSpPr>
          <p:nvPr>
            <p:ph type="pic" sz="quarter" idx="16" hasCustomPrompt="1"/>
          </p:nvPr>
        </p:nvSpPr>
        <p:spPr>
          <a:xfrm>
            <a:off x="6706246" y="1586142"/>
            <a:ext cx="2270907" cy="4020508"/>
          </a:xfrm>
          <a:prstGeom prst="rect">
            <a:avLst/>
          </a:prstGeom>
          <a:solidFill>
            <a:schemeClr val="accent6"/>
          </a:solidFill>
        </p:spPr>
        <p:txBody>
          <a:bodyPr anchor="ctr"/>
          <a:lstStyle>
            <a:lvl1pPr marL="0" indent="0" algn="ctr">
              <a:buNone/>
              <a:defRPr b="0" i="0" baseline="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an image here</a:t>
            </a:r>
          </a:p>
        </p:txBody>
      </p:sp>
      <p:grpSp>
        <p:nvGrpSpPr>
          <p:cNvPr id="46" name="Группа 38">
            <a:extLst>
              <a:ext uri="{FF2B5EF4-FFF2-40B4-BE49-F238E27FC236}">
                <a16:creationId xmlns:a16="http://schemas.microsoft.com/office/drawing/2014/main" id="{2A795994-78FC-8B4A-A73D-45805DB3399A}"/>
              </a:ext>
            </a:extLst>
          </p:cNvPr>
          <p:cNvGrpSpPr/>
          <p:nvPr userDrawn="1"/>
        </p:nvGrpSpPr>
        <p:grpSpPr>
          <a:xfrm>
            <a:off x="3846856" y="964908"/>
            <a:ext cx="2583988" cy="5158025"/>
            <a:chOff x="3421706" y="1143000"/>
            <a:chExt cx="2530932" cy="5052117"/>
          </a:xfrm>
        </p:grpSpPr>
        <p:sp>
          <p:nvSpPr>
            <p:cNvPr id="47" name="Скругленный прямоугольник 39">
              <a:extLst>
                <a:ext uri="{FF2B5EF4-FFF2-40B4-BE49-F238E27FC236}">
                  <a16:creationId xmlns:a16="http://schemas.microsoft.com/office/drawing/2014/main" id="{D4481D81-D6CB-C14B-AEAB-DD56182BAAC5}"/>
                </a:ext>
              </a:extLst>
            </p:cNvPr>
            <p:cNvSpPr/>
            <p:nvPr userDrawn="1"/>
          </p:nvSpPr>
          <p:spPr>
            <a:xfrm>
              <a:off x="5772337" y="2057401"/>
              <a:ext cx="180301" cy="487680"/>
            </a:xfrm>
            <a:prstGeom prst="roundRect">
              <a:avLst/>
            </a:prstGeom>
            <a:solidFill>
              <a:srgbClr val="F8FAFB">
                <a:alpha val="30000"/>
              </a:srgbClr>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60" name="Скругленный прямоугольник 40">
              <a:extLst>
                <a:ext uri="{FF2B5EF4-FFF2-40B4-BE49-F238E27FC236}">
                  <a16:creationId xmlns:a16="http://schemas.microsoft.com/office/drawing/2014/main" id="{5D506568-8BBA-1E46-B0E6-52460AF62553}"/>
                </a:ext>
              </a:extLst>
            </p:cNvPr>
            <p:cNvSpPr/>
            <p:nvPr userDrawn="1"/>
          </p:nvSpPr>
          <p:spPr>
            <a:xfrm>
              <a:off x="3421706" y="1971500"/>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61" name="Скругленный прямоугольник 41">
              <a:extLst>
                <a:ext uri="{FF2B5EF4-FFF2-40B4-BE49-F238E27FC236}">
                  <a16:creationId xmlns:a16="http://schemas.microsoft.com/office/drawing/2014/main" id="{1D674F5B-ADD1-6349-B06F-820786411F5F}"/>
                </a:ext>
              </a:extLst>
            </p:cNvPr>
            <p:cNvSpPr/>
            <p:nvPr userDrawn="1"/>
          </p:nvSpPr>
          <p:spPr>
            <a:xfrm>
              <a:off x="3421706" y="2530199"/>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62" name="Скругленный прямоугольник 42">
              <a:extLst>
                <a:ext uri="{FF2B5EF4-FFF2-40B4-BE49-F238E27FC236}">
                  <a16:creationId xmlns:a16="http://schemas.microsoft.com/office/drawing/2014/main" id="{565CE0E5-57CC-6E40-8EAF-8EE06DF0B509}"/>
                </a:ext>
              </a:extLst>
            </p:cNvPr>
            <p:cNvSpPr/>
            <p:nvPr userDrawn="1"/>
          </p:nvSpPr>
          <p:spPr>
            <a:xfrm>
              <a:off x="3421706" y="3041744"/>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63" name="Скругленный прямоугольник 43">
              <a:extLst>
                <a:ext uri="{FF2B5EF4-FFF2-40B4-BE49-F238E27FC236}">
                  <a16:creationId xmlns:a16="http://schemas.microsoft.com/office/drawing/2014/main" id="{1CC8472A-19BC-5D4D-B50D-0D5D0E2AC232}"/>
                </a:ext>
              </a:extLst>
            </p:cNvPr>
            <p:cNvSpPr/>
            <p:nvPr userDrawn="1"/>
          </p:nvSpPr>
          <p:spPr>
            <a:xfrm>
              <a:off x="3453659" y="1143000"/>
              <a:ext cx="2465281" cy="5052117"/>
            </a:xfrm>
            <a:prstGeom prst="roundRect">
              <a:avLst>
                <a:gd name="adj" fmla="val 13958"/>
              </a:avLst>
            </a:prstGeom>
            <a:solidFill>
              <a:schemeClr val="bg1"/>
            </a:solidFill>
            <a:ln w="19050" cap="flat" cmpd="sng" algn="ctr">
              <a:solidFill>
                <a:schemeClr val="accent5"/>
              </a:soli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64" name="Овал 44">
              <a:extLst>
                <a:ext uri="{FF2B5EF4-FFF2-40B4-BE49-F238E27FC236}">
                  <a16:creationId xmlns:a16="http://schemas.microsoft.com/office/drawing/2014/main" id="{DBEE6639-EF24-3743-B8FD-C80079546D8B}"/>
                </a:ext>
              </a:extLst>
            </p:cNvPr>
            <p:cNvSpPr/>
            <p:nvPr userDrawn="1"/>
          </p:nvSpPr>
          <p:spPr>
            <a:xfrm>
              <a:off x="4481234" y="5699769"/>
              <a:ext cx="410131" cy="406782"/>
            </a:xfrm>
            <a:prstGeom prst="ellipse">
              <a:avLst/>
            </a:prstGeom>
            <a:noFill/>
            <a:ln w="15875" cap="flat" cmpd="sng" algn="ctr">
              <a:gradFill flip="none" rotWithShape="1">
                <a:gsLst>
                  <a:gs pos="32000">
                    <a:srgbClr val="F8FAFB">
                      <a:lumMod val="65000"/>
                      <a:lumOff val="35000"/>
                    </a:srgbClr>
                  </a:gs>
                  <a:gs pos="71000">
                    <a:srgbClr val="000000">
                      <a:lumMod val="95000"/>
                    </a:srgbClr>
                  </a:gs>
                  <a:gs pos="0">
                    <a:srgbClr val="000000">
                      <a:lumMod val="65000"/>
                    </a:srgbClr>
                  </a:gs>
                  <a:gs pos="100000">
                    <a:srgbClr val="F8FAFB">
                      <a:lumMod val="95000"/>
                      <a:lumOff val="5000"/>
                    </a:srgbClr>
                  </a:gs>
                </a:gsLst>
                <a:lin ang="16200000" scaled="1"/>
                <a:tileRect/>
              </a:gra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65" name="Скругленный прямоугольник 45">
              <a:extLst>
                <a:ext uri="{FF2B5EF4-FFF2-40B4-BE49-F238E27FC236}">
                  <a16:creationId xmlns:a16="http://schemas.microsoft.com/office/drawing/2014/main" id="{274488AA-1B9F-5446-9F95-8619E4C5608D}"/>
                </a:ext>
              </a:extLst>
            </p:cNvPr>
            <p:cNvSpPr/>
            <p:nvPr userDrawn="1"/>
          </p:nvSpPr>
          <p:spPr>
            <a:xfrm>
              <a:off x="4441914" y="1457766"/>
              <a:ext cx="481663" cy="44909"/>
            </a:xfrm>
            <a:prstGeom prst="roundRect">
              <a:avLst>
                <a:gd name="adj" fmla="val 50000"/>
              </a:avLst>
            </a:prstGeom>
            <a:solidFill>
              <a:schemeClr val="tx1">
                <a:lumMod val="75000"/>
              </a:schemeClr>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66" name="Овал 46">
              <a:extLst>
                <a:ext uri="{FF2B5EF4-FFF2-40B4-BE49-F238E27FC236}">
                  <a16:creationId xmlns:a16="http://schemas.microsoft.com/office/drawing/2014/main" id="{C96F1CA2-0D91-6F40-8A9C-710A0737EDC7}"/>
                </a:ext>
              </a:extLst>
            </p:cNvPr>
            <p:cNvSpPr/>
            <p:nvPr userDrawn="1"/>
          </p:nvSpPr>
          <p:spPr>
            <a:xfrm flipH="1">
              <a:off x="4287288" y="1451578"/>
              <a:ext cx="59518" cy="58098"/>
            </a:xfrm>
            <a:prstGeom prst="ellipse">
              <a:avLst/>
            </a:prstGeom>
            <a:solidFill>
              <a:schemeClr val="tx1">
                <a:lumMod val="75000"/>
              </a:schemeClr>
            </a:solidFill>
            <a:ln w="508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67" name="Овал 47">
              <a:extLst>
                <a:ext uri="{FF2B5EF4-FFF2-40B4-BE49-F238E27FC236}">
                  <a16:creationId xmlns:a16="http://schemas.microsoft.com/office/drawing/2014/main" id="{A6B56AE8-372B-8E4D-B9F6-6068BF47E936}"/>
                </a:ext>
              </a:extLst>
            </p:cNvPr>
            <p:cNvSpPr/>
            <p:nvPr userDrawn="1"/>
          </p:nvSpPr>
          <p:spPr>
            <a:xfrm flipH="1">
              <a:off x="4656540" y="1271335"/>
              <a:ext cx="59518" cy="58098"/>
            </a:xfrm>
            <a:prstGeom prst="ellipse">
              <a:avLst/>
            </a:prstGeom>
            <a:solidFill>
              <a:schemeClr val="tx1">
                <a:lumMod val="75000"/>
              </a:schemeClr>
            </a:solidFill>
            <a:ln w="508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grpSp>
      <p:sp>
        <p:nvSpPr>
          <p:cNvPr id="68" name="Picture Placeholder 3">
            <a:extLst>
              <a:ext uri="{FF2B5EF4-FFF2-40B4-BE49-F238E27FC236}">
                <a16:creationId xmlns:a16="http://schemas.microsoft.com/office/drawing/2014/main" id="{83DE7D3C-34A9-E44D-98F3-5D23AE49133E}"/>
              </a:ext>
            </a:extLst>
          </p:cNvPr>
          <p:cNvSpPr>
            <a:spLocks noGrp="1"/>
          </p:cNvSpPr>
          <p:nvPr>
            <p:ph type="pic" sz="quarter" idx="17" hasCustomPrompt="1"/>
          </p:nvPr>
        </p:nvSpPr>
        <p:spPr>
          <a:xfrm>
            <a:off x="3996421" y="1586142"/>
            <a:ext cx="2270907" cy="4020508"/>
          </a:xfrm>
          <a:prstGeom prst="rect">
            <a:avLst/>
          </a:prstGeom>
          <a:solidFill>
            <a:schemeClr val="accent6"/>
          </a:solidFill>
        </p:spPr>
        <p:txBody>
          <a:bodyPr anchor="ctr"/>
          <a:lstStyle>
            <a:lvl1pPr marL="0" indent="0" algn="ctr">
              <a:buNone/>
              <a:defRPr b="0" i="0" baseline="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an image here</a:t>
            </a:r>
          </a:p>
        </p:txBody>
      </p:sp>
    </p:spTree>
    <p:extLst>
      <p:ext uri="{BB962C8B-B14F-4D97-AF65-F5344CB8AC3E}">
        <p14:creationId xmlns:p14="http://schemas.microsoft.com/office/powerpoint/2010/main" val="8220378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Basic Slide – Title and Content">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dirty="0"/>
          </a:p>
        </p:txBody>
      </p:sp>
      <p:sp>
        <p:nvSpPr>
          <p:cNvPr id="30" name="Text Placeholder 6">
            <a:extLst>
              <a:ext uri="{FF2B5EF4-FFF2-40B4-BE49-F238E27FC236}">
                <a16:creationId xmlns:a16="http://schemas.microsoft.com/office/drawing/2014/main" id="{FE8B9BD2-8D43-AA4F-9513-5E8A89EA1977}"/>
              </a:ext>
            </a:extLst>
          </p:cNvPr>
          <p:cNvSpPr>
            <a:spLocks noGrp="1"/>
          </p:cNvSpPr>
          <p:nvPr>
            <p:ph type="body" sz="quarter" idx="13"/>
          </p:nvPr>
        </p:nvSpPr>
        <p:spPr>
          <a:xfrm>
            <a:off x="334433" y="2380912"/>
            <a:ext cx="5462023" cy="2073537"/>
          </a:xfrm>
        </p:spPr>
        <p:txBody>
          <a:bodyPr/>
          <a:lstStyle/>
          <a:p>
            <a:pPr lvl="0"/>
            <a:r>
              <a:rPr lang="en-US"/>
              <a:t>Click to edit Master text styles</a:t>
            </a:r>
          </a:p>
        </p:txBody>
      </p:sp>
      <p:sp>
        <p:nvSpPr>
          <p:cNvPr id="31" name="Title 2">
            <a:extLst>
              <a:ext uri="{FF2B5EF4-FFF2-40B4-BE49-F238E27FC236}">
                <a16:creationId xmlns:a16="http://schemas.microsoft.com/office/drawing/2014/main" id="{4D9866F2-94D8-E04C-A43A-226E03A56398}"/>
              </a:ext>
            </a:extLst>
          </p:cNvPr>
          <p:cNvSpPr>
            <a:spLocks noGrp="1"/>
          </p:cNvSpPr>
          <p:nvPr>
            <p:ph type="title" hasCustomPrompt="1"/>
          </p:nvPr>
        </p:nvSpPr>
        <p:spPr>
          <a:xfrm>
            <a:off x="334841" y="1057473"/>
            <a:ext cx="5461830" cy="1323439"/>
          </a:xfrm>
        </p:spPr>
        <p:txBody>
          <a:bodyPr wrap="square" anchor="t">
            <a:spAutoFit/>
          </a:bodyPr>
          <a:lstStyle>
            <a:lvl1pPr>
              <a:defRPr/>
            </a:lvl1pPr>
          </a:lstStyle>
          <a:p>
            <a:r>
              <a:rPr lang="en-US" dirty="0"/>
              <a:t>Click to edit Master title style Click to edit Master title style</a:t>
            </a:r>
            <a:endParaRPr lang="en-GB" dirty="0"/>
          </a:p>
        </p:txBody>
      </p:sp>
      <p:grpSp>
        <p:nvGrpSpPr>
          <p:cNvPr id="35" name="Group 34">
            <a:extLst>
              <a:ext uri="{FF2B5EF4-FFF2-40B4-BE49-F238E27FC236}">
                <a16:creationId xmlns:a16="http://schemas.microsoft.com/office/drawing/2014/main" id="{2DD6D8D7-AE31-354D-BF9F-BFD01FBA2349}"/>
              </a:ext>
            </a:extLst>
          </p:cNvPr>
          <p:cNvGrpSpPr/>
          <p:nvPr userDrawn="1"/>
        </p:nvGrpSpPr>
        <p:grpSpPr>
          <a:xfrm>
            <a:off x="7556362" y="322076"/>
            <a:ext cx="3096027" cy="6159349"/>
            <a:chOff x="7104114" y="527902"/>
            <a:chExt cx="3447062" cy="6857709"/>
          </a:xfrm>
        </p:grpSpPr>
        <p:sp>
          <p:nvSpPr>
            <p:cNvPr id="36" name="Скругленный прямоугольник 40">
              <a:extLst>
                <a:ext uri="{FF2B5EF4-FFF2-40B4-BE49-F238E27FC236}">
                  <a16:creationId xmlns:a16="http://schemas.microsoft.com/office/drawing/2014/main" id="{F2724065-B591-1E40-8A4C-599C216D95EF}"/>
                </a:ext>
              </a:extLst>
            </p:cNvPr>
            <p:cNvSpPr/>
            <p:nvPr userDrawn="1"/>
          </p:nvSpPr>
          <p:spPr>
            <a:xfrm>
              <a:off x="7104114" y="1450971"/>
              <a:ext cx="244739" cy="267826"/>
            </a:xfrm>
            <a:prstGeom prst="roundRect">
              <a:avLst/>
            </a:prstGeom>
            <a:solidFill>
              <a:schemeClr val="accent4"/>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37" name="Скругленный прямоугольник 40">
              <a:extLst>
                <a:ext uri="{FF2B5EF4-FFF2-40B4-BE49-F238E27FC236}">
                  <a16:creationId xmlns:a16="http://schemas.microsoft.com/office/drawing/2014/main" id="{7F7F6156-88B9-1B41-9E1D-B05A4306B6D7}"/>
                </a:ext>
              </a:extLst>
            </p:cNvPr>
            <p:cNvSpPr/>
            <p:nvPr userDrawn="1"/>
          </p:nvSpPr>
          <p:spPr>
            <a:xfrm>
              <a:off x="7104114" y="1925358"/>
              <a:ext cx="244739" cy="505719"/>
            </a:xfrm>
            <a:prstGeom prst="roundRect">
              <a:avLst/>
            </a:prstGeom>
            <a:solidFill>
              <a:schemeClr val="accent4"/>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38" name="Скругленный прямоугольник 40">
              <a:extLst>
                <a:ext uri="{FF2B5EF4-FFF2-40B4-BE49-F238E27FC236}">
                  <a16:creationId xmlns:a16="http://schemas.microsoft.com/office/drawing/2014/main" id="{1F0D6C3F-8F4D-F847-84AC-10EB4E31A5C8}"/>
                </a:ext>
              </a:extLst>
            </p:cNvPr>
            <p:cNvSpPr/>
            <p:nvPr userDrawn="1"/>
          </p:nvSpPr>
          <p:spPr>
            <a:xfrm>
              <a:off x="7104114" y="2564751"/>
              <a:ext cx="244739" cy="505719"/>
            </a:xfrm>
            <a:prstGeom prst="roundRect">
              <a:avLst/>
            </a:prstGeom>
            <a:solidFill>
              <a:schemeClr val="accent4"/>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39" name="Скругленный прямоугольник 40">
              <a:extLst>
                <a:ext uri="{FF2B5EF4-FFF2-40B4-BE49-F238E27FC236}">
                  <a16:creationId xmlns:a16="http://schemas.microsoft.com/office/drawing/2014/main" id="{31249FA2-2BE7-544B-BBE0-AD3B9710440C}"/>
                </a:ext>
              </a:extLst>
            </p:cNvPr>
            <p:cNvSpPr/>
            <p:nvPr userDrawn="1"/>
          </p:nvSpPr>
          <p:spPr>
            <a:xfrm>
              <a:off x="10306437" y="2097238"/>
              <a:ext cx="244739" cy="790338"/>
            </a:xfrm>
            <a:prstGeom prst="roundRect">
              <a:avLst/>
            </a:prstGeom>
            <a:solidFill>
              <a:schemeClr val="accent4"/>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40" name="Скругленный прямоугольник 43">
              <a:extLst>
                <a:ext uri="{FF2B5EF4-FFF2-40B4-BE49-F238E27FC236}">
                  <a16:creationId xmlns:a16="http://schemas.microsoft.com/office/drawing/2014/main" id="{1E122794-1C7E-B74E-8539-729FAF34F102}"/>
                </a:ext>
              </a:extLst>
            </p:cNvPr>
            <p:cNvSpPr/>
            <p:nvPr userDrawn="1"/>
          </p:nvSpPr>
          <p:spPr>
            <a:xfrm>
              <a:off x="7142979" y="527902"/>
              <a:ext cx="3376207" cy="6857709"/>
            </a:xfrm>
            <a:prstGeom prst="roundRect">
              <a:avLst>
                <a:gd name="adj" fmla="val 13682"/>
              </a:avLst>
            </a:prstGeom>
            <a:solidFill>
              <a:schemeClr val="tx1">
                <a:lumMod val="50000"/>
              </a:schemeClr>
            </a:solidFill>
            <a:ln w="19050" cap="flat" cmpd="sng" algn="ctr">
              <a:solidFill>
                <a:schemeClr val="accent4"/>
              </a:soli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41" name="Oval 40">
              <a:extLst>
                <a:ext uri="{FF2B5EF4-FFF2-40B4-BE49-F238E27FC236}">
                  <a16:creationId xmlns:a16="http://schemas.microsoft.com/office/drawing/2014/main" id="{1620D54E-9781-6845-9FDE-41AC8CBC94A2}"/>
                </a:ext>
              </a:extLst>
            </p:cNvPr>
            <p:cNvSpPr/>
            <p:nvPr userDrawn="1"/>
          </p:nvSpPr>
          <p:spPr>
            <a:xfrm>
              <a:off x="9192126" y="666893"/>
              <a:ext cx="123754" cy="123754"/>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0" i="0" dirty="0" err="1">
                <a:solidFill>
                  <a:schemeClr val="bg1"/>
                </a:solidFill>
                <a:ea typeface="Oswald Light" charset="0"/>
                <a:cs typeface="Arial Narrow" panose="020B0604020202020204" pitchFamily="34" charset="0"/>
              </a:endParaRPr>
            </a:p>
          </p:txBody>
        </p:sp>
      </p:grpSp>
      <p:sp>
        <p:nvSpPr>
          <p:cNvPr id="42" name="Picture Placeholder 4">
            <a:extLst>
              <a:ext uri="{FF2B5EF4-FFF2-40B4-BE49-F238E27FC236}">
                <a16:creationId xmlns:a16="http://schemas.microsoft.com/office/drawing/2014/main" id="{9CBA073C-6D05-9045-AD04-DBC0DA2BAB0B}"/>
              </a:ext>
            </a:extLst>
          </p:cNvPr>
          <p:cNvSpPr>
            <a:spLocks noGrp="1"/>
          </p:cNvSpPr>
          <p:nvPr>
            <p:ph type="pic" sz="quarter" idx="16"/>
          </p:nvPr>
        </p:nvSpPr>
        <p:spPr>
          <a:xfrm>
            <a:off x="7713501" y="431541"/>
            <a:ext cx="2797006" cy="5911691"/>
          </a:xfrm>
          <a:custGeom>
            <a:avLst/>
            <a:gdLst>
              <a:gd name="connsiteX0" fmla="*/ 300992 w 2664356"/>
              <a:gd name="connsiteY0" fmla="*/ 0 h 5631325"/>
              <a:gd name="connsiteX1" fmla="*/ 591950 w 2664356"/>
              <a:gd name="connsiteY1" fmla="*/ 0 h 5631325"/>
              <a:gd name="connsiteX2" fmla="*/ 591950 w 2664356"/>
              <a:gd name="connsiteY2" fmla="*/ 71534 h 5631325"/>
              <a:gd name="connsiteX3" fmla="*/ 749016 w 2664356"/>
              <a:gd name="connsiteY3" fmla="*/ 228600 h 5631325"/>
              <a:gd name="connsiteX4" fmla="*/ 1915341 w 2664356"/>
              <a:gd name="connsiteY4" fmla="*/ 228600 h 5631325"/>
              <a:gd name="connsiteX5" fmla="*/ 2072407 w 2664356"/>
              <a:gd name="connsiteY5" fmla="*/ 71534 h 5631325"/>
              <a:gd name="connsiteX6" fmla="*/ 2072407 w 2664356"/>
              <a:gd name="connsiteY6" fmla="*/ 0 h 5631325"/>
              <a:gd name="connsiteX7" fmla="*/ 2363364 w 2664356"/>
              <a:gd name="connsiteY7" fmla="*/ 0 h 5631325"/>
              <a:gd name="connsiteX8" fmla="*/ 2664356 w 2664356"/>
              <a:gd name="connsiteY8" fmla="*/ 300992 h 5631325"/>
              <a:gd name="connsiteX9" fmla="*/ 2664356 w 2664356"/>
              <a:gd name="connsiteY9" fmla="*/ 5330333 h 5631325"/>
              <a:gd name="connsiteX10" fmla="*/ 2363364 w 2664356"/>
              <a:gd name="connsiteY10" fmla="*/ 5631325 h 5631325"/>
              <a:gd name="connsiteX11" fmla="*/ 300992 w 2664356"/>
              <a:gd name="connsiteY11" fmla="*/ 5631325 h 5631325"/>
              <a:gd name="connsiteX12" fmla="*/ 0 w 2664356"/>
              <a:gd name="connsiteY12" fmla="*/ 5330333 h 5631325"/>
              <a:gd name="connsiteX13" fmla="*/ 0 w 2664356"/>
              <a:gd name="connsiteY13" fmla="*/ 300992 h 5631325"/>
              <a:gd name="connsiteX14" fmla="*/ 300992 w 2664356"/>
              <a:gd name="connsiteY14" fmla="*/ 0 h 5631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64356" h="5631325">
                <a:moveTo>
                  <a:pt x="300992" y="0"/>
                </a:moveTo>
                <a:lnTo>
                  <a:pt x="591950" y="0"/>
                </a:lnTo>
                <a:lnTo>
                  <a:pt x="591950" y="71534"/>
                </a:lnTo>
                <a:cubicBezTo>
                  <a:pt x="591950" y="158279"/>
                  <a:pt x="662271" y="228600"/>
                  <a:pt x="749016" y="228600"/>
                </a:cubicBezTo>
                <a:lnTo>
                  <a:pt x="1915341" y="228600"/>
                </a:lnTo>
                <a:cubicBezTo>
                  <a:pt x="2002086" y="228600"/>
                  <a:pt x="2072407" y="158279"/>
                  <a:pt x="2072407" y="71534"/>
                </a:cubicBezTo>
                <a:lnTo>
                  <a:pt x="2072407" y="0"/>
                </a:lnTo>
                <a:lnTo>
                  <a:pt x="2363364" y="0"/>
                </a:lnTo>
                <a:cubicBezTo>
                  <a:pt x="2529597" y="0"/>
                  <a:pt x="2664356" y="134759"/>
                  <a:pt x="2664356" y="300992"/>
                </a:cubicBezTo>
                <a:lnTo>
                  <a:pt x="2664356" y="5330333"/>
                </a:lnTo>
                <a:cubicBezTo>
                  <a:pt x="2664356" y="5496566"/>
                  <a:pt x="2529597" y="5631325"/>
                  <a:pt x="2363364" y="5631325"/>
                </a:cubicBezTo>
                <a:lnTo>
                  <a:pt x="300992" y="5631325"/>
                </a:lnTo>
                <a:cubicBezTo>
                  <a:pt x="134759" y="5631325"/>
                  <a:pt x="0" y="5496566"/>
                  <a:pt x="0" y="5330333"/>
                </a:cubicBezTo>
                <a:lnTo>
                  <a:pt x="0" y="300992"/>
                </a:lnTo>
                <a:cubicBezTo>
                  <a:pt x="0" y="134759"/>
                  <a:pt x="134759" y="0"/>
                  <a:pt x="300992" y="0"/>
                </a:cubicBezTo>
                <a:close/>
              </a:path>
            </a:pathLst>
          </a:custGeom>
          <a:solidFill>
            <a:schemeClr val="accent6"/>
          </a:solidFill>
        </p:spPr>
        <p:txBody>
          <a:bodyPr wrap="square" anchor="ctr">
            <a:noAutofit/>
          </a:bodyPr>
          <a:lstStyle>
            <a:lvl1pPr marL="0" indent="0" algn="ctr">
              <a:buNone/>
              <a:defRPr sz="100"/>
            </a:lvl1pPr>
          </a:lstStyle>
          <a:p>
            <a:r>
              <a:rPr lang="en-US"/>
              <a:t>Click icon to add picture</a:t>
            </a:r>
            <a:endParaRPr lang="en-US" dirty="0"/>
          </a:p>
        </p:txBody>
      </p:sp>
    </p:spTree>
    <p:extLst>
      <p:ext uri="{BB962C8B-B14F-4D97-AF65-F5344CB8AC3E}">
        <p14:creationId xmlns:p14="http://schemas.microsoft.com/office/powerpoint/2010/main" val="23949001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0" name="Slide Number Placeholder 1"/>
          <p:cNvSpPr>
            <a:spLocks noGrp="1"/>
          </p:cNvSpPr>
          <p:nvPr>
            <p:ph type="sldNum" sz="quarter" idx="4"/>
          </p:nvPr>
        </p:nvSpPr>
        <p:spPr>
          <a:xfrm>
            <a:off x="11562276" y="6436380"/>
            <a:ext cx="412811" cy="208181"/>
          </a:xfrm>
          <a:prstGeom prst="rect">
            <a:avLst/>
          </a:prstGeom>
          <a:solidFill>
            <a:schemeClr val="bg1"/>
          </a:solidFill>
          <a:ln>
            <a:noFill/>
          </a:ln>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7" name="Title 6">
            <a:extLst>
              <a:ext uri="{FF2B5EF4-FFF2-40B4-BE49-F238E27FC236}">
                <a16:creationId xmlns:a16="http://schemas.microsoft.com/office/drawing/2014/main" id="{97A0FA0D-0B05-5A45-9F2C-ED9C3ED2AB79}"/>
              </a:ext>
            </a:extLst>
          </p:cNvPr>
          <p:cNvSpPr>
            <a:spLocks noGrp="1"/>
          </p:cNvSpPr>
          <p:nvPr>
            <p:ph type="title"/>
          </p:nvPr>
        </p:nvSpPr>
        <p:spPr>
          <a:xfrm>
            <a:off x="334842" y="300381"/>
            <a:ext cx="11542666" cy="1085553"/>
          </a:xfrm>
        </p:spPr>
        <p:txBody>
          <a:bodyPr>
            <a:normAutofit/>
          </a:bodyPr>
          <a:lstStyle>
            <a:lvl1pPr>
              <a:defRPr sz="4000" b="0" spc="0"/>
            </a:lvl1pPr>
          </a:lstStyle>
          <a:p>
            <a:r>
              <a:rPr lang="en-US"/>
              <a:t>Click to edit Master title style</a:t>
            </a:r>
            <a:endParaRPr lang="en-GB" dirty="0"/>
          </a:p>
        </p:txBody>
      </p:sp>
      <p:sp>
        <p:nvSpPr>
          <p:cNvPr id="33" name="Text Placeholder 6">
            <a:extLst>
              <a:ext uri="{FF2B5EF4-FFF2-40B4-BE49-F238E27FC236}">
                <a16:creationId xmlns:a16="http://schemas.microsoft.com/office/drawing/2014/main" id="{F6AAD39E-4E6A-654A-83D2-5F62729BC8AC}"/>
              </a:ext>
            </a:extLst>
          </p:cNvPr>
          <p:cNvSpPr>
            <a:spLocks noGrp="1"/>
          </p:cNvSpPr>
          <p:nvPr>
            <p:ph type="body" sz="quarter" idx="13"/>
          </p:nvPr>
        </p:nvSpPr>
        <p:spPr>
          <a:xfrm>
            <a:off x="334435" y="1388533"/>
            <a:ext cx="11542666" cy="4853859"/>
          </a:xfrm>
        </p:spPr>
        <p:txBody>
          <a:bodyPr/>
          <a:lstStyle>
            <a:lvl2pPr>
              <a:defRPr b="1"/>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8713823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0" name="Slide Number Placeholder 1">
            <a:extLst>
              <a:ext uri="{FF2B5EF4-FFF2-40B4-BE49-F238E27FC236}">
                <a16:creationId xmlns:a16="http://schemas.microsoft.com/office/drawing/2014/main" id="{B5512BC3-D170-1E4B-B6B7-6E8550CAB2F1}"/>
              </a:ext>
            </a:extLst>
          </p:cNvPr>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cxnSp>
        <p:nvCxnSpPr>
          <p:cNvPr id="32" name="Straight Connector 31">
            <a:extLst>
              <a:ext uri="{FF2B5EF4-FFF2-40B4-BE49-F238E27FC236}">
                <a16:creationId xmlns:a16="http://schemas.microsoft.com/office/drawing/2014/main" id="{D7030962-3989-1748-BD16-2974CC1E3452}"/>
              </a:ext>
            </a:extLst>
          </p:cNvPr>
          <p:cNvCxnSpPr>
            <a:cxnSpLocks/>
          </p:cNvCxnSpPr>
          <p:nvPr userDrawn="1"/>
        </p:nvCxnSpPr>
        <p:spPr>
          <a:xfrm>
            <a:off x="7297180" y="1799869"/>
            <a:ext cx="0" cy="4432980"/>
          </a:xfrm>
          <a:prstGeom prst="line">
            <a:avLst/>
          </a:prstGeom>
          <a:ln w="12700">
            <a:gradFill flip="none" rotWithShape="1">
              <a:gsLst>
                <a:gs pos="0">
                  <a:schemeClr val="accent4">
                    <a:lumMod val="67000"/>
                  </a:schemeClr>
                </a:gs>
                <a:gs pos="100000">
                  <a:schemeClr val="accent4">
                    <a:lumMod val="60000"/>
                    <a:lumOff val="40000"/>
                    <a:alpha val="0"/>
                  </a:schemeClr>
                </a:gs>
              </a:gsLst>
              <a:lin ang="5400000" scaled="0"/>
              <a:tileRect/>
            </a:gra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066E63B6-9383-5345-911C-AD82EF4940C0}"/>
              </a:ext>
            </a:extLst>
          </p:cNvPr>
          <p:cNvSpPr>
            <a:spLocks noGrp="1"/>
          </p:cNvSpPr>
          <p:nvPr>
            <p:ph type="body" sz="quarter" idx="10" hasCustomPrompt="1"/>
          </p:nvPr>
        </p:nvSpPr>
        <p:spPr>
          <a:xfrm>
            <a:off x="1567545" y="1582414"/>
            <a:ext cx="5509078" cy="3810680"/>
          </a:xfrm>
        </p:spPr>
        <p:txBody>
          <a:bodyPr/>
          <a:lstStyle>
            <a:lvl1pPr algn="r" defTabSz="1219170" rtl="0" eaLnBrk="1" latinLnBrk="0" hangingPunct="1">
              <a:lnSpc>
                <a:spcPct val="100000"/>
              </a:lnSpc>
              <a:spcBef>
                <a:spcPct val="0"/>
              </a:spcBef>
              <a:buNone/>
              <a:defRPr lang="en-US" sz="4000" b="0" i="0" kern="1200" spc="0" dirty="0" smtClean="0">
                <a:solidFill>
                  <a:schemeClr val="tx1"/>
                </a:solidFill>
                <a:latin typeface="Oswald Light" pitchFamily="2" charset="77"/>
                <a:ea typeface="+mj-ea"/>
                <a:cs typeface="Arial Narrow" panose="020B0604020202020204" pitchFamily="34" charset="0"/>
              </a:defRPr>
            </a:lvl1pPr>
            <a:lvl2pPr algn="r" defTabSz="1219170" rtl="0" eaLnBrk="1" latinLnBrk="0" hangingPunct="1">
              <a:lnSpc>
                <a:spcPct val="100000"/>
              </a:lnSpc>
              <a:spcBef>
                <a:spcPct val="0"/>
              </a:spcBef>
              <a:buNone/>
              <a:defRPr lang="en-US" sz="4000" b="0" i="0" kern="1200" spc="0" dirty="0" smtClean="0">
                <a:solidFill>
                  <a:schemeClr val="tx1"/>
                </a:solidFill>
                <a:latin typeface="Oswald Light" pitchFamily="2" charset="77"/>
                <a:ea typeface="+mj-ea"/>
                <a:cs typeface="Arial Narrow" panose="020B0604020202020204" pitchFamily="34" charset="0"/>
              </a:defRPr>
            </a:lvl2pPr>
            <a:lvl3pPr algn="r" defTabSz="1219170" rtl="0" eaLnBrk="1" latinLnBrk="0" hangingPunct="1">
              <a:lnSpc>
                <a:spcPct val="100000"/>
              </a:lnSpc>
              <a:spcBef>
                <a:spcPct val="0"/>
              </a:spcBef>
              <a:buNone/>
              <a:defRPr lang="en-US" sz="4000" b="0" i="0" kern="1200" spc="0" dirty="0" smtClean="0">
                <a:solidFill>
                  <a:schemeClr val="tx1"/>
                </a:solidFill>
                <a:latin typeface="Oswald Light" pitchFamily="2" charset="77"/>
                <a:ea typeface="+mj-ea"/>
                <a:cs typeface="Arial Narrow" panose="020B0604020202020204" pitchFamily="34" charset="0"/>
              </a:defRPr>
            </a:lvl3pPr>
            <a:lvl4pPr marL="6350" indent="0" algn="r" defTabSz="1219170" rtl="0" eaLnBrk="1" latinLnBrk="0" hangingPunct="1">
              <a:lnSpc>
                <a:spcPct val="100000"/>
              </a:lnSpc>
              <a:spcBef>
                <a:spcPct val="0"/>
              </a:spcBef>
              <a:buNone/>
              <a:defRPr lang="en-US" sz="4000" b="0" i="0" kern="1200" spc="0" dirty="0" smtClean="0">
                <a:solidFill>
                  <a:schemeClr val="tx1"/>
                </a:solidFill>
                <a:latin typeface="Oswald Light" pitchFamily="2" charset="77"/>
                <a:ea typeface="+mj-ea"/>
                <a:cs typeface="Arial Narrow" panose="020B0604020202020204" pitchFamily="34" charset="0"/>
              </a:defRPr>
            </a:lvl4pPr>
            <a:lvl5pPr marL="239176" indent="0" algn="r" defTabSz="1219170" rtl="0" eaLnBrk="1" latinLnBrk="0" hangingPunct="1">
              <a:lnSpc>
                <a:spcPct val="100000"/>
              </a:lnSpc>
              <a:spcBef>
                <a:spcPct val="0"/>
              </a:spcBef>
              <a:buNone/>
              <a:defRPr lang="en-US" sz="4000" b="0" i="0" kern="1200" spc="0" dirty="0">
                <a:solidFill>
                  <a:schemeClr val="tx1"/>
                </a:solidFill>
                <a:latin typeface="Oswald Light" pitchFamily="2" charset="77"/>
                <a:ea typeface="+mj-ea"/>
                <a:cs typeface="Arial Narrow" panose="020B0604020202020204" pitchFamily="34" charset="0"/>
              </a:defRPr>
            </a:lvl5pPr>
          </a:lstStyle>
          <a:p>
            <a:r>
              <a:rPr lang="en-US" dirty="0"/>
              <a:t>Lorem Ipsum is simply dummy text of the printing and typesetting industry. Lorem Ipsum has been the industry's standard dummy text ever since the 1500s.</a:t>
            </a:r>
            <a:endParaRPr lang="en-GB" dirty="0"/>
          </a:p>
        </p:txBody>
      </p:sp>
      <p:sp>
        <p:nvSpPr>
          <p:cNvPr id="10" name="Text Placeholder 9">
            <a:extLst>
              <a:ext uri="{FF2B5EF4-FFF2-40B4-BE49-F238E27FC236}">
                <a16:creationId xmlns:a16="http://schemas.microsoft.com/office/drawing/2014/main" id="{0A5F1C21-A223-5F44-8950-33FDACDF081F}"/>
              </a:ext>
            </a:extLst>
          </p:cNvPr>
          <p:cNvSpPr>
            <a:spLocks noGrp="1"/>
          </p:cNvSpPr>
          <p:nvPr>
            <p:ph type="body" sz="quarter" idx="11" hasCustomPrompt="1"/>
          </p:nvPr>
        </p:nvSpPr>
        <p:spPr>
          <a:xfrm>
            <a:off x="7517738" y="1737665"/>
            <a:ext cx="2285620" cy="3499919"/>
          </a:xfrm>
        </p:spPr>
        <p:txBody>
          <a:bodyPr>
            <a:normAutofit/>
          </a:bodyPr>
          <a:lstStyle>
            <a:lvl1pPr marL="0" marR="0" indent="0" algn="l" defTabSz="1219170" rtl="0" eaLnBrk="1" fontAlgn="auto" latinLnBrk="0" hangingPunct="1">
              <a:lnSpc>
                <a:spcPct val="113000"/>
              </a:lnSpc>
              <a:spcBef>
                <a:spcPts val="1200"/>
              </a:spcBef>
              <a:spcAft>
                <a:spcPts val="0"/>
              </a:spcAft>
              <a:buClrTx/>
              <a:buSzTx/>
              <a:buFont typeface="Arial"/>
              <a:buNone/>
              <a:tabLst/>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defRPr lang="en-US" sz="1200" b="0" i="0" kern="1200" spc="0" dirty="0" smtClean="0">
                <a:solidFill>
                  <a:schemeClr val="tx1"/>
                </a:solidFill>
                <a:latin typeface="Arial" panose="020B0604020202020204" pitchFamily="34" charset="0"/>
                <a:ea typeface="+mj-ea"/>
                <a:cs typeface="Arial" panose="020B0604020202020204" pitchFamily="34" charset="0"/>
              </a:defRPr>
            </a:lvl2pPr>
            <a:lvl3pPr>
              <a:defRPr lang="en-US" sz="1200" b="0" i="0" kern="1200" spc="0" dirty="0" smtClean="0">
                <a:solidFill>
                  <a:schemeClr val="tx1"/>
                </a:solidFill>
                <a:latin typeface="Arial" panose="020B0604020202020204" pitchFamily="34" charset="0"/>
                <a:ea typeface="+mj-ea"/>
                <a:cs typeface="Arial" panose="020B0604020202020204" pitchFamily="34" charset="0"/>
              </a:defRPr>
            </a:lvl3pPr>
            <a:lvl4pPr>
              <a:defRPr lang="en-US" sz="1200" b="0" i="0" kern="1200" spc="0" dirty="0" smtClean="0">
                <a:solidFill>
                  <a:schemeClr val="tx1"/>
                </a:solidFill>
                <a:latin typeface="Arial" panose="020B0604020202020204" pitchFamily="34" charset="0"/>
                <a:ea typeface="+mj-ea"/>
                <a:cs typeface="Arial" panose="020B0604020202020204" pitchFamily="34" charset="0"/>
              </a:defRPr>
            </a:lvl4pPr>
            <a:lvl5pPr>
              <a:defRPr lang="en-US" sz="1200" b="0" i="0" kern="1200" spc="0" dirty="0">
                <a:solidFill>
                  <a:schemeClr val="tx1"/>
                </a:solidFill>
                <a:latin typeface="Arial" panose="020B0604020202020204" pitchFamily="34" charset="0"/>
                <a:ea typeface="+mj-ea"/>
                <a:cs typeface="Arial" panose="020B0604020202020204" pitchFamily="34" charset="0"/>
              </a:defRPr>
            </a:lvl5pPr>
          </a:lstStyle>
          <a:p>
            <a:pPr marL="0" marR="0" lvl="0" indent="0" algn="l" defTabSz="1219170" rtl="0" eaLnBrk="1" fontAlgn="auto" latinLnBrk="0" hangingPunct="1">
              <a:lnSpc>
                <a:spcPct val="113000"/>
              </a:lnSpc>
              <a:spcBef>
                <a:spcPts val="1200"/>
              </a:spcBef>
              <a:spcAft>
                <a:spcPts val="0"/>
              </a:spcAft>
              <a:buClrTx/>
              <a:buSzTx/>
              <a:buFont typeface="Arial"/>
              <a:buNone/>
              <a:tabLst/>
              <a:defRPr/>
            </a:pPr>
            <a:r>
              <a:rPr lang="en-US" dirty="0"/>
              <a:t>Lorem Ipsum is simply dummy text of the printing and typesetting industry. Lorem Ipsum has been the industry's standard dummy text ever since the 1500s, when an unknown printer took a galley of type and scrambled it to make a type specimen book. Lorem Ipsum is simply dummy text of the printing and typesetting industry. Lorem Ipsum has been the industry's standard dummy text ever since the 1500s, when an unknown printer took a galley of type and scrambled it to make a type specimen book.</a:t>
            </a:r>
            <a:endParaRPr lang="en-GB" dirty="0"/>
          </a:p>
        </p:txBody>
      </p:sp>
    </p:spTree>
    <p:extLst>
      <p:ext uri="{BB962C8B-B14F-4D97-AF65-F5344CB8AC3E}">
        <p14:creationId xmlns:p14="http://schemas.microsoft.com/office/powerpoint/2010/main" val="24665242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0" name="Slide Number Placeholder 1">
            <a:extLst>
              <a:ext uri="{FF2B5EF4-FFF2-40B4-BE49-F238E27FC236}">
                <a16:creationId xmlns:a16="http://schemas.microsoft.com/office/drawing/2014/main" id="{B5512BC3-D170-1E4B-B6B7-6E8550CAB2F1}"/>
              </a:ext>
            </a:extLst>
          </p:cNvPr>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cxnSp>
        <p:nvCxnSpPr>
          <p:cNvPr id="32" name="Straight Connector 31">
            <a:extLst>
              <a:ext uri="{FF2B5EF4-FFF2-40B4-BE49-F238E27FC236}">
                <a16:creationId xmlns:a16="http://schemas.microsoft.com/office/drawing/2014/main" id="{D7030962-3989-1748-BD16-2974CC1E3452}"/>
              </a:ext>
            </a:extLst>
          </p:cNvPr>
          <p:cNvCxnSpPr>
            <a:cxnSpLocks/>
          </p:cNvCxnSpPr>
          <p:nvPr userDrawn="1"/>
        </p:nvCxnSpPr>
        <p:spPr>
          <a:xfrm>
            <a:off x="2085496" y="1774988"/>
            <a:ext cx="0" cy="3947789"/>
          </a:xfrm>
          <a:prstGeom prst="line">
            <a:avLst/>
          </a:prstGeom>
          <a:ln w="12700">
            <a:gradFill flip="none" rotWithShape="1">
              <a:gsLst>
                <a:gs pos="0">
                  <a:schemeClr val="accent4">
                    <a:lumMod val="67000"/>
                  </a:schemeClr>
                </a:gs>
                <a:gs pos="100000">
                  <a:schemeClr val="accent4">
                    <a:lumMod val="60000"/>
                    <a:lumOff val="40000"/>
                    <a:alpha val="0"/>
                  </a:schemeClr>
                </a:gs>
              </a:gsLst>
              <a:lin ang="5400000" scaled="0"/>
              <a:tileRect/>
            </a:gra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066E63B6-9383-5345-911C-AD82EF4940C0}"/>
              </a:ext>
            </a:extLst>
          </p:cNvPr>
          <p:cNvSpPr>
            <a:spLocks noGrp="1"/>
          </p:cNvSpPr>
          <p:nvPr>
            <p:ph type="body" sz="quarter" idx="10" hasCustomPrompt="1"/>
          </p:nvPr>
        </p:nvSpPr>
        <p:spPr>
          <a:xfrm>
            <a:off x="2275001" y="1663280"/>
            <a:ext cx="8033302" cy="2460851"/>
          </a:xfrm>
        </p:spPr>
        <p:txBody>
          <a:bodyPr/>
          <a:lstStyle>
            <a:lvl1pPr algn="l" defTabSz="1219170" rtl="0" eaLnBrk="1" latinLnBrk="0" hangingPunct="1">
              <a:lnSpc>
                <a:spcPct val="100000"/>
              </a:lnSpc>
              <a:spcBef>
                <a:spcPct val="0"/>
              </a:spcBef>
              <a:buNone/>
              <a:defRPr lang="en-US" sz="4000" b="0" i="0" kern="1200" spc="0" dirty="0" smtClean="0">
                <a:solidFill>
                  <a:schemeClr val="tx1"/>
                </a:solidFill>
                <a:latin typeface="Oswald Light" pitchFamily="2" charset="77"/>
                <a:ea typeface="+mj-ea"/>
                <a:cs typeface="Arial Narrow" panose="020B0604020202020204" pitchFamily="34" charset="0"/>
              </a:defRPr>
            </a:lvl1pPr>
            <a:lvl2pPr algn="r" defTabSz="1219170" rtl="0" eaLnBrk="1" latinLnBrk="0" hangingPunct="1">
              <a:lnSpc>
                <a:spcPct val="100000"/>
              </a:lnSpc>
              <a:spcBef>
                <a:spcPct val="0"/>
              </a:spcBef>
              <a:buNone/>
              <a:defRPr lang="en-US" sz="4000" b="0" i="0" kern="1200" spc="0" dirty="0" smtClean="0">
                <a:solidFill>
                  <a:schemeClr val="tx1"/>
                </a:solidFill>
                <a:latin typeface="Oswald Light" pitchFamily="2" charset="77"/>
                <a:ea typeface="+mj-ea"/>
                <a:cs typeface="Arial Narrow" panose="020B0604020202020204" pitchFamily="34" charset="0"/>
              </a:defRPr>
            </a:lvl2pPr>
            <a:lvl3pPr algn="r" defTabSz="1219170" rtl="0" eaLnBrk="1" latinLnBrk="0" hangingPunct="1">
              <a:lnSpc>
                <a:spcPct val="100000"/>
              </a:lnSpc>
              <a:spcBef>
                <a:spcPct val="0"/>
              </a:spcBef>
              <a:buNone/>
              <a:defRPr lang="en-US" sz="4000" b="0" i="0" kern="1200" spc="0" dirty="0" smtClean="0">
                <a:solidFill>
                  <a:schemeClr val="tx1"/>
                </a:solidFill>
                <a:latin typeface="Oswald Light" pitchFamily="2" charset="77"/>
                <a:ea typeface="+mj-ea"/>
                <a:cs typeface="Arial Narrow" panose="020B0604020202020204" pitchFamily="34" charset="0"/>
              </a:defRPr>
            </a:lvl3pPr>
            <a:lvl4pPr marL="6350" indent="0" algn="r" defTabSz="1219170" rtl="0" eaLnBrk="1" latinLnBrk="0" hangingPunct="1">
              <a:lnSpc>
                <a:spcPct val="100000"/>
              </a:lnSpc>
              <a:spcBef>
                <a:spcPct val="0"/>
              </a:spcBef>
              <a:buNone/>
              <a:defRPr lang="en-US" sz="4000" b="0" i="0" kern="1200" spc="0" dirty="0" smtClean="0">
                <a:solidFill>
                  <a:schemeClr val="tx1"/>
                </a:solidFill>
                <a:latin typeface="Oswald Light" pitchFamily="2" charset="77"/>
                <a:ea typeface="+mj-ea"/>
                <a:cs typeface="Arial Narrow" panose="020B0604020202020204" pitchFamily="34" charset="0"/>
              </a:defRPr>
            </a:lvl4pPr>
            <a:lvl5pPr marL="239176" indent="0" algn="r" defTabSz="1219170" rtl="0" eaLnBrk="1" latinLnBrk="0" hangingPunct="1">
              <a:lnSpc>
                <a:spcPct val="100000"/>
              </a:lnSpc>
              <a:spcBef>
                <a:spcPct val="0"/>
              </a:spcBef>
              <a:buNone/>
              <a:defRPr lang="en-US" sz="4000" b="0" i="0" kern="1200" spc="0" dirty="0">
                <a:solidFill>
                  <a:schemeClr val="tx1"/>
                </a:solidFill>
                <a:latin typeface="Oswald Light" pitchFamily="2" charset="77"/>
                <a:ea typeface="+mj-ea"/>
                <a:cs typeface="Arial Narrow" panose="020B0604020202020204" pitchFamily="34" charset="0"/>
              </a:defRPr>
            </a:lvl5pPr>
          </a:lstStyle>
          <a:p>
            <a:r>
              <a:rPr lang="en-US" dirty="0"/>
              <a:t>Lorem Ipsum has been the industry's standard dummy text ever since the 1500s, when an unknown printer took a galley of type and scrambled it to make a type specimen book. </a:t>
            </a:r>
            <a:endParaRPr lang="en-GB" dirty="0"/>
          </a:p>
        </p:txBody>
      </p:sp>
      <p:sp>
        <p:nvSpPr>
          <p:cNvPr id="10" name="Text Placeholder 9">
            <a:extLst>
              <a:ext uri="{FF2B5EF4-FFF2-40B4-BE49-F238E27FC236}">
                <a16:creationId xmlns:a16="http://schemas.microsoft.com/office/drawing/2014/main" id="{0A5F1C21-A223-5F44-8950-33FDACDF081F}"/>
              </a:ext>
            </a:extLst>
          </p:cNvPr>
          <p:cNvSpPr>
            <a:spLocks noGrp="1"/>
          </p:cNvSpPr>
          <p:nvPr>
            <p:ph type="body" sz="quarter" idx="11" hasCustomPrompt="1"/>
          </p:nvPr>
        </p:nvSpPr>
        <p:spPr>
          <a:xfrm>
            <a:off x="2274998" y="4319061"/>
            <a:ext cx="8073335" cy="825695"/>
          </a:xfrm>
        </p:spPr>
        <p:txBody>
          <a:bodyPr>
            <a:normAutofit/>
          </a:bodyPr>
          <a:lstStyle>
            <a:lvl1pPr>
              <a:spcBef>
                <a:spcPts val="1200"/>
              </a:spcBef>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defRPr lang="en-US" sz="1200" b="0" i="0" kern="1200" spc="0" dirty="0" smtClean="0">
                <a:solidFill>
                  <a:schemeClr val="tx1"/>
                </a:solidFill>
                <a:latin typeface="Arial" panose="020B0604020202020204" pitchFamily="34" charset="0"/>
                <a:ea typeface="+mj-ea"/>
                <a:cs typeface="Arial" panose="020B0604020202020204" pitchFamily="34" charset="0"/>
              </a:defRPr>
            </a:lvl2pPr>
            <a:lvl3pPr>
              <a:defRPr lang="en-US" sz="1200" b="0" i="0" kern="1200" spc="0" dirty="0" smtClean="0">
                <a:solidFill>
                  <a:schemeClr val="tx1"/>
                </a:solidFill>
                <a:latin typeface="Arial" panose="020B0604020202020204" pitchFamily="34" charset="0"/>
                <a:ea typeface="+mj-ea"/>
                <a:cs typeface="Arial" panose="020B0604020202020204" pitchFamily="34" charset="0"/>
              </a:defRPr>
            </a:lvl3pPr>
            <a:lvl4pPr>
              <a:defRPr lang="en-US" sz="1200" b="0" i="0" kern="1200" spc="0" dirty="0" smtClean="0">
                <a:solidFill>
                  <a:schemeClr val="tx1"/>
                </a:solidFill>
                <a:latin typeface="Arial" panose="020B0604020202020204" pitchFamily="34" charset="0"/>
                <a:ea typeface="+mj-ea"/>
                <a:cs typeface="Arial" panose="020B0604020202020204" pitchFamily="34" charset="0"/>
              </a:defRPr>
            </a:lvl4pPr>
            <a:lvl5pPr>
              <a:defRPr lang="en-US" sz="1200" b="0" i="0" kern="1200" spc="0" dirty="0">
                <a:solidFill>
                  <a:schemeClr val="tx1"/>
                </a:solidFill>
                <a:latin typeface="Arial" panose="020B0604020202020204" pitchFamily="34" charset="0"/>
                <a:ea typeface="+mj-ea"/>
                <a:cs typeface="Arial" panose="020B0604020202020204" pitchFamily="34" charset="0"/>
              </a:defRPr>
            </a:lvl5p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endParaRPr lang="en-GB" dirty="0"/>
          </a:p>
        </p:txBody>
      </p:sp>
    </p:spTree>
    <p:extLst>
      <p:ext uri="{BB962C8B-B14F-4D97-AF65-F5344CB8AC3E}">
        <p14:creationId xmlns:p14="http://schemas.microsoft.com/office/powerpoint/2010/main" val="42851148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ox Image">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6">
            <a:extLst>
              <a:ext uri="{FF2B5EF4-FFF2-40B4-BE49-F238E27FC236}">
                <a16:creationId xmlns:a16="http://schemas.microsoft.com/office/drawing/2014/main" id="{297A5A6F-06C9-5243-B413-97758CE10425}"/>
              </a:ext>
            </a:extLst>
          </p:cNvPr>
          <p:cNvSpPr>
            <a:spLocks noGrp="1"/>
          </p:cNvSpPr>
          <p:nvPr>
            <p:ph type="body" sz="quarter" idx="13"/>
          </p:nvPr>
        </p:nvSpPr>
        <p:spPr>
          <a:xfrm>
            <a:off x="334435" y="1623820"/>
            <a:ext cx="5653616" cy="4555723"/>
          </a:xfrm>
        </p:spPr>
        <p:txBody>
          <a:bodyPr/>
          <a:lstStyle/>
          <a:p>
            <a:pPr lvl="0"/>
            <a:r>
              <a:rPr lang="en-US"/>
              <a:t>Click to edit Master text styles</a:t>
            </a:r>
          </a:p>
        </p:txBody>
      </p:sp>
      <p:sp>
        <p:nvSpPr>
          <p:cNvPr id="32" name="Title 2">
            <a:extLst>
              <a:ext uri="{FF2B5EF4-FFF2-40B4-BE49-F238E27FC236}">
                <a16:creationId xmlns:a16="http://schemas.microsoft.com/office/drawing/2014/main" id="{FB388972-27D9-4941-BCB1-691F45590A90}"/>
              </a:ext>
            </a:extLst>
          </p:cNvPr>
          <p:cNvSpPr>
            <a:spLocks noGrp="1"/>
          </p:cNvSpPr>
          <p:nvPr>
            <p:ph type="title" hasCustomPrompt="1"/>
          </p:nvPr>
        </p:nvSpPr>
        <p:spPr>
          <a:xfrm>
            <a:off x="334842" y="300381"/>
            <a:ext cx="5653208"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
        <p:nvSpPr>
          <p:cNvPr id="33" name="Picture Placeholder 30">
            <a:extLst>
              <a:ext uri="{FF2B5EF4-FFF2-40B4-BE49-F238E27FC236}">
                <a16:creationId xmlns:a16="http://schemas.microsoft.com/office/drawing/2014/main" id="{641B64AE-AAB1-6D4E-84D5-6F88021C115B}"/>
              </a:ext>
            </a:extLst>
          </p:cNvPr>
          <p:cNvSpPr>
            <a:spLocks noGrp="1"/>
          </p:cNvSpPr>
          <p:nvPr>
            <p:ph type="pic" sz="quarter" idx="15" hasCustomPrompt="1"/>
          </p:nvPr>
        </p:nvSpPr>
        <p:spPr>
          <a:xfrm>
            <a:off x="7532914" y="1839572"/>
            <a:ext cx="4197124" cy="4613616"/>
          </a:xfrm>
          <a:prstGeom prst="rect">
            <a:avLst/>
          </a:prstGeom>
          <a:gradFill flip="none" rotWithShape="1">
            <a:gsLst>
              <a:gs pos="0">
                <a:schemeClr val="accent2"/>
              </a:gs>
              <a:gs pos="87000">
                <a:schemeClr val="bg1"/>
              </a:gs>
              <a:gs pos="59000">
                <a:schemeClr val="bg2"/>
              </a:gs>
            </a:gsLst>
            <a:path path="circle">
              <a:fillToRect l="100000" t="100000"/>
            </a:path>
            <a:tileRect r="-100000" b="-100000"/>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31" name="Picture Placeholder 30"/>
          <p:cNvSpPr>
            <a:spLocks noGrp="1"/>
          </p:cNvSpPr>
          <p:nvPr>
            <p:ph type="pic" sz="quarter" idx="10" hasCustomPrompt="1"/>
          </p:nvPr>
        </p:nvSpPr>
        <p:spPr>
          <a:xfrm>
            <a:off x="6192079" y="485193"/>
            <a:ext cx="5426103" cy="5865844"/>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Tree>
    <p:extLst>
      <p:ext uri="{BB962C8B-B14F-4D97-AF65-F5344CB8AC3E}">
        <p14:creationId xmlns:p14="http://schemas.microsoft.com/office/powerpoint/2010/main" val="25149459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03">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gradFill flip="none" rotWithShape="1">
            <a:gsLst>
              <a:gs pos="100000">
                <a:schemeClr val="accent3"/>
              </a:gs>
              <a:gs pos="0">
                <a:schemeClr val="accent1"/>
              </a:gs>
            </a:gsLst>
            <a:lin ang="2700000" scaled="1"/>
            <a:tileRect/>
          </a:gradFill>
        </p:spPr>
        <p:txBody>
          <a:bodyPr vert="horz" wrap="square" lIns="91440" tIns="45720" rIns="91440" bIns="45720" rtlCol="0" anchor="ctr">
            <a:noAutofit/>
          </a:bodyPr>
          <a:lstStyle>
            <a:lvl1pPr>
              <a:defRPr lang="en-GB" sz="2400" dirty="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pPr lvl="0" algn="ctr"/>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38">
            <a:extLst>
              <a:ext uri="{FF2B5EF4-FFF2-40B4-BE49-F238E27FC236}">
                <a16:creationId xmlns:a16="http://schemas.microsoft.com/office/drawing/2014/main" id="{3BF9A0A2-88F0-554E-A1CC-FA4F0250982C}"/>
              </a:ext>
            </a:extLst>
          </p:cNvPr>
          <p:cNvSpPr>
            <a:spLocks noGrp="1"/>
          </p:cNvSpPr>
          <p:nvPr>
            <p:ph type="body" sz="quarter" idx="15" hasCustomPrompt="1"/>
          </p:nvPr>
        </p:nvSpPr>
        <p:spPr>
          <a:xfrm>
            <a:off x="334841" y="3259225"/>
            <a:ext cx="11522320" cy="2604546"/>
          </a:xfrm>
        </p:spPr>
        <p:txBody>
          <a:bodyPr anchor="t">
            <a:normAutofit/>
          </a:bodyPr>
          <a:lstStyle>
            <a:lvl1pPr marL="0" marR="0" indent="0" algn="l" defTabSz="1219170" rtl="0" eaLnBrk="1" fontAlgn="auto" latinLnBrk="0" hangingPunct="1">
              <a:lnSpc>
                <a:spcPct val="80000"/>
              </a:lnSpc>
              <a:spcBef>
                <a:spcPts val="0"/>
              </a:spcBef>
              <a:spcAft>
                <a:spcPts val="0"/>
              </a:spcAft>
              <a:buClrTx/>
              <a:buSzTx/>
              <a:buFont typeface="Arial"/>
              <a:buNone/>
              <a:tabLst/>
              <a:defRPr lang="en-GB" sz="11000" b="0" i="0" kern="1200" cap="none" baseline="0" dirty="0">
                <a:solidFill>
                  <a:schemeClr val="bg1"/>
                </a:solidFill>
                <a:latin typeface="Oswald Light" pitchFamily="2" charset="77"/>
                <a:ea typeface="Arial" panose="020B0604020202020204" pitchFamily="34" charset="0"/>
                <a:cs typeface="Arial" panose="020B0604020202020204" pitchFamily="34" charset="0"/>
              </a:defRPr>
            </a:lvl1pPr>
          </a:lstStyle>
          <a:p>
            <a:pPr marL="0" marR="0" lvl="0" indent="0" algn="l" defTabSz="1219170" rtl="0" eaLnBrk="1" fontAlgn="auto" latinLnBrk="0" hangingPunct="1">
              <a:lnSpc>
                <a:spcPct val="80000"/>
              </a:lnSpc>
              <a:spcBef>
                <a:spcPts val="0"/>
              </a:spcBef>
              <a:spcAft>
                <a:spcPts val="0"/>
              </a:spcAft>
              <a:buClrTx/>
              <a:buSzTx/>
              <a:buFont typeface="Arial"/>
              <a:buNone/>
              <a:tabLst/>
              <a:defRPr/>
            </a:pPr>
            <a:r>
              <a:rPr lang="en-GB" dirty="0"/>
              <a:t>Divider slide</a:t>
            </a:r>
          </a:p>
        </p:txBody>
      </p:sp>
      <p:sp>
        <p:nvSpPr>
          <p:cNvPr id="32" name="Text Placeholder 38">
            <a:extLst>
              <a:ext uri="{FF2B5EF4-FFF2-40B4-BE49-F238E27FC236}">
                <a16:creationId xmlns:a16="http://schemas.microsoft.com/office/drawing/2014/main" id="{139D9A37-0F8C-DD4E-A536-B7E0CF1E5BBA}"/>
              </a:ext>
            </a:extLst>
          </p:cNvPr>
          <p:cNvSpPr>
            <a:spLocks noGrp="1"/>
          </p:cNvSpPr>
          <p:nvPr>
            <p:ph type="body" sz="quarter" idx="13" hasCustomPrompt="1"/>
          </p:nvPr>
        </p:nvSpPr>
        <p:spPr>
          <a:xfrm>
            <a:off x="334840" y="620052"/>
            <a:ext cx="11522320" cy="2639173"/>
          </a:xfrm>
          <a:noFill/>
        </p:spPr>
        <p:txBody>
          <a:bodyPr anchor="b">
            <a:noAutofit/>
          </a:bodyPr>
          <a:lstStyle>
            <a:lvl1pPr algn="l">
              <a:spcBef>
                <a:spcPts val="0"/>
              </a:spcBef>
              <a:defRPr sz="15300" b="1" i="0" cap="all" baseline="0">
                <a:solidFill>
                  <a:schemeClr val="accent3"/>
                </a:solidFill>
                <a:latin typeface="Oswald Light" pitchFamily="2" charset="77"/>
              </a:defRPr>
            </a:lvl1pPr>
          </a:lstStyle>
          <a:p>
            <a:pPr lvl="0"/>
            <a:r>
              <a:rPr lang="en-GB" dirty="0"/>
              <a:t>03</a:t>
            </a:r>
          </a:p>
        </p:txBody>
      </p:sp>
      <p:sp>
        <p:nvSpPr>
          <p:cNvPr id="34" name="Text Placeholder 38">
            <a:extLst>
              <a:ext uri="{FF2B5EF4-FFF2-40B4-BE49-F238E27FC236}">
                <a16:creationId xmlns:a16="http://schemas.microsoft.com/office/drawing/2014/main" id="{EC29B1F2-A3E0-EE46-810D-04D9B1D59953}"/>
              </a:ext>
            </a:extLst>
          </p:cNvPr>
          <p:cNvSpPr>
            <a:spLocks noGrp="1"/>
          </p:cNvSpPr>
          <p:nvPr>
            <p:ph type="body" sz="quarter" idx="16" hasCustomPrompt="1"/>
          </p:nvPr>
        </p:nvSpPr>
        <p:spPr>
          <a:xfrm>
            <a:off x="334841" y="5863771"/>
            <a:ext cx="11522320" cy="380396"/>
          </a:xfrm>
        </p:spPr>
        <p:txBody>
          <a:bodyPr anchor="t">
            <a:noAutofit/>
          </a:bodyPr>
          <a:lstStyle>
            <a:lvl1pPr algn="l">
              <a:lnSpc>
                <a:spcPct val="90000"/>
              </a:lnSpc>
              <a:spcBef>
                <a:spcPts val="0"/>
              </a:spcBef>
              <a:defRPr lang="en-GB" sz="1600" b="0" i="0" kern="1200" cap="none" baseline="0" dirty="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1219170" rtl="0" eaLnBrk="1" latinLnBrk="0" hangingPunct="1">
              <a:lnSpc>
                <a:spcPct val="90000"/>
              </a:lnSpc>
              <a:spcBef>
                <a:spcPts val="0"/>
              </a:spcBef>
              <a:buFont typeface="Arial"/>
              <a:buNone/>
            </a:pPr>
            <a:r>
              <a:rPr lang="en-GB" dirty="0"/>
              <a:t>Sub point</a:t>
            </a:r>
          </a:p>
        </p:txBody>
      </p:sp>
    </p:spTree>
    <p:extLst>
      <p:ext uri="{BB962C8B-B14F-4D97-AF65-F5344CB8AC3E}">
        <p14:creationId xmlns:p14="http://schemas.microsoft.com/office/powerpoint/2010/main" val="28719936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Box Image">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5164" y="0"/>
            <a:ext cx="12192000" cy="6453188"/>
          </a:xfrm>
          <a:prstGeom prst="rect">
            <a:avLst/>
          </a:prstGeom>
          <a:gradFill flip="none" rotWithShape="1">
            <a:gsLst>
              <a:gs pos="100000">
                <a:schemeClr val="accent2"/>
              </a:gs>
              <a:gs pos="0">
                <a:schemeClr val="accent3"/>
              </a:gs>
            </a:gsLst>
            <a:lin ang="10800000" scaled="1"/>
            <a:tileRect/>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4" name="Picture Placeholder 30">
            <a:extLst>
              <a:ext uri="{FF2B5EF4-FFF2-40B4-BE49-F238E27FC236}">
                <a16:creationId xmlns:a16="http://schemas.microsoft.com/office/drawing/2014/main" id="{B54779E0-ED58-0E46-A81E-B01B3E126995}"/>
              </a:ext>
            </a:extLst>
          </p:cNvPr>
          <p:cNvSpPr>
            <a:spLocks noGrp="1"/>
          </p:cNvSpPr>
          <p:nvPr>
            <p:ph type="pic" sz="quarter" idx="16" hasCustomPrompt="1"/>
          </p:nvPr>
        </p:nvSpPr>
        <p:spPr>
          <a:xfrm>
            <a:off x="1169718" y="1032588"/>
            <a:ext cx="5959151" cy="4816615"/>
          </a:xfrm>
          <a:prstGeom prst="rect">
            <a:avLst/>
          </a:prstGeom>
          <a:solidFill>
            <a:schemeClr val="accent3"/>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30" name="Text Placeholder 6">
            <a:extLst>
              <a:ext uri="{FF2B5EF4-FFF2-40B4-BE49-F238E27FC236}">
                <a16:creationId xmlns:a16="http://schemas.microsoft.com/office/drawing/2014/main" id="{297A5A6F-06C9-5243-B413-97758CE10425}"/>
              </a:ext>
            </a:extLst>
          </p:cNvPr>
          <p:cNvSpPr>
            <a:spLocks noGrp="1"/>
          </p:cNvSpPr>
          <p:nvPr>
            <p:ph type="body" sz="quarter" idx="13" hasCustomPrompt="1"/>
          </p:nvPr>
        </p:nvSpPr>
        <p:spPr>
          <a:xfrm>
            <a:off x="5001491" y="2674775"/>
            <a:ext cx="5106954" cy="2800511"/>
          </a:xfrm>
          <a:solidFill>
            <a:schemeClr val="bg1"/>
          </a:solidFill>
        </p:spPr>
        <p:txBody>
          <a:bodyPr lIns="2592000" tIns="144000" rIns="144000" bIns="144000">
            <a:normAutofit/>
          </a:bodyPr>
          <a:lstStyle>
            <a:lvl1pPr>
              <a:lnSpc>
                <a:spcPct val="113000"/>
              </a:lnSpc>
              <a:spcBef>
                <a:spcPts val="1200"/>
              </a:spcBef>
              <a:defRPr sz="1200"/>
            </a:lvl1pPr>
            <a:lvl2pPr>
              <a:defRPr sz="1200"/>
            </a:lvl2pPr>
            <a:lvl3pPr>
              <a:defRPr sz="1200"/>
            </a:lvl3pPr>
            <a:lvl4pPr>
              <a:defRPr sz="1200"/>
            </a:lvl4pPr>
            <a:lvl5pPr>
              <a:defRPr sz="1200"/>
            </a:lvl5pPr>
          </a:lstStyle>
          <a:p>
            <a:pPr lvl="0"/>
            <a:r>
              <a:rPr lang="en-US" dirty="0"/>
              <a:t>Edit Master text styles </a:t>
            </a:r>
          </a:p>
        </p:txBody>
      </p:sp>
      <p:sp>
        <p:nvSpPr>
          <p:cNvPr id="33" name="Picture Placeholder 30">
            <a:extLst>
              <a:ext uri="{FF2B5EF4-FFF2-40B4-BE49-F238E27FC236}">
                <a16:creationId xmlns:a16="http://schemas.microsoft.com/office/drawing/2014/main" id="{641B64AE-AAB1-6D4E-84D5-6F88021C115B}"/>
              </a:ext>
            </a:extLst>
          </p:cNvPr>
          <p:cNvSpPr>
            <a:spLocks noGrp="1"/>
          </p:cNvSpPr>
          <p:nvPr>
            <p:ph type="pic" sz="quarter" idx="15" hasCustomPrompt="1"/>
          </p:nvPr>
        </p:nvSpPr>
        <p:spPr>
          <a:xfrm>
            <a:off x="1381213" y="765110"/>
            <a:ext cx="5959151" cy="4901682"/>
          </a:xfrm>
          <a:prstGeom prst="rect">
            <a:avLst/>
          </a:prstGeom>
          <a:solidFill>
            <a:schemeClr val="bg1">
              <a:lumMod val="85000"/>
            </a:schemeClr>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37" name="Title 2">
            <a:extLst>
              <a:ext uri="{FF2B5EF4-FFF2-40B4-BE49-F238E27FC236}">
                <a16:creationId xmlns:a16="http://schemas.microsoft.com/office/drawing/2014/main" id="{88A8023B-78B2-A14A-BB8E-77EB1DA946E0}"/>
              </a:ext>
            </a:extLst>
          </p:cNvPr>
          <p:cNvSpPr>
            <a:spLocks noGrp="1"/>
          </p:cNvSpPr>
          <p:nvPr>
            <p:ph type="title"/>
          </p:nvPr>
        </p:nvSpPr>
        <p:spPr>
          <a:xfrm>
            <a:off x="7477213" y="1351336"/>
            <a:ext cx="3342898" cy="1323439"/>
          </a:xfrm>
        </p:spPr>
        <p:txBody>
          <a:bodyPr wrap="square" anchor="b">
            <a:spAutoFit/>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7066933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Box Image">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12192000" cy="6453188"/>
          </a:xfrm>
          <a:prstGeom prst="rect">
            <a:avLst/>
          </a:prstGeom>
          <a:gradFill flip="none" rotWithShape="1">
            <a:gsLst>
              <a:gs pos="0">
                <a:schemeClr val="tx2"/>
              </a:gs>
              <a:gs pos="100000">
                <a:schemeClr val="bg1"/>
              </a:gs>
              <a:gs pos="49000">
                <a:schemeClr val="bg2"/>
              </a:gs>
            </a:gsLst>
            <a:lin ang="18900000" scaled="1"/>
            <a:tileRect/>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4" name="Picture Placeholder 30">
            <a:extLst>
              <a:ext uri="{FF2B5EF4-FFF2-40B4-BE49-F238E27FC236}">
                <a16:creationId xmlns:a16="http://schemas.microsoft.com/office/drawing/2014/main" id="{B54779E0-ED58-0E46-A81E-B01B3E126995}"/>
              </a:ext>
            </a:extLst>
          </p:cNvPr>
          <p:cNvSpPr>
            <a:spLocks noGrp="1"/>
          </p:cNvSpPr>
          <p:nvPr>
            <p:ph type="pic" sz="quarter" idx="16" hasCustomPrompt="1"/>
          </p:nvPr>
        </p:nvSpPr>
        <p:spPr>
          <a:xfrm>
            <a:off x="2012006" y="3693831"/>
            <a:ext cx="4415458" cy="2348123"/>
          </a:xfrm>
          <a:prstGeom prst="rect">
            <a:avLst/>
          </a:prstGeom>
          <a:solidFill>
            <a:schemeClr val="accent2"/>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30" name="Text Placeholder 6">
            <a:extLst>
              <a:ext uri="{FF2B5EF4-FFF2-40B4-BE49-F238E27FC236}">
                <a16:creationId xmlns:a16="http://schemas.microsoft.com/office/drawing/2014/main" id="{297A5A6F-06C9-5243-B413-97758CE10425}"/>
              </a:ext>
            </a:extLst>
          </p:cNvPr>
          <p:cNvSpPr>
            <a:spLocks noGrp="1"/>
          </p:cNvSpPr>
          <p:nvPr>
            <p:ph type="body" sz="quarter" idx="13" hasCustomPrompt="1"/>
          </p:nvPr>
        </p:nvSpPr>
        <p:spPr>
          <a:xfrm>
            <a:off x="1148771" y="3215951"/>
            <a:ext cx="5106954" cy="2643593"/>
          </a:xfrm>
          <a:solidFill>
            <a:schemeClr val="bg1"/>
          </a:solidFill>
        </p:spPr>
        <p:txBody>
          <a:bodyPr lIns="144000" tIns="108000" rIns="1908000" bIns="108000">
            <a:normAutofit/>
          </a:bodyPr>
          <a:lstStyle>
            <a:lvl1pPr>
              <a:lnSpc>
                <a:spcPct val="113000"/>
              </a:lnSpc>
              <a:spcBef>
                <a:spcPts val="1200"/>
              </a:spcBef>
              <a:defRPr sz="1200"/>
            </a:lvl1pPr>
            <a:lvl2pPr>
              <a:defRPr sz="1200"/>
            </a:lvl2pPr>
            <a:lvl3pPr>
              <a:defRPr sz="1200"/>
            </a:lvl3pPr>
            <a:lvl4pPr>
              <a:defRPr sz="1200"/>
            </a:lvl4pPr>
            <a:lvl5pPr>
              <a:defRPr sz="1200"/>
            </a:lvl5pPr>
          </a:lstStyle>
          <a:p>
            <a:r>
              <a:rPr lang="en-GB" dirty="0"/>
              <a:t>We’ve travelled extensively through the fertile valleys of Jordan, mountainous villages of Lebanon and vibrant cities of Beirut, Istanbul, Tel Aviv, and Jerusalem to procure the finest middle-eastern ingredients. </a:t>
            </a:r>
          </a:p>
          <a:p>
            <a:r>
              <a:rPr lang="en-GB" dirty="0"/>
              <a:t>We draw inspiration from a culinary kaleidoscope of delicacies discovered on our adventures, to recreate the deliciousness that epitomise the breadth of flavours, colours and textures of one of the world’s most exciting food cultures.</a:t>
            </a:r>
            <a:endParaRPr lang="en-US" dirty="0"/>
          </a:p>
        </p:txBody>
      </p:sp>
      <p:sp>
        <p:nvSpPr>
          <p:cNvPr id="33" name="Picture Placeholder 30">
            <a:extLst>
              <a:ext uri="{FF2B5EF4-FFF2-40B4-BE49-F238E27FC236}">
                <a16:creationId xmlns:a16="http://schemas.microsoft.com/office/drawing/2014/main" id="{641B64AE-AAB1-6D4E-84D5-6F88021C115B}"/>
              </a:ext>
            </a:extLst>
          </p:cNvPr>
          <p:cNvSpPr>
            <a:spLocks noGrp="1"/>
          </p:cNvSpPr>
          <p:nvPr>
            <p:ph type="pic" sz="quarter" idx="15" hasCustomPrompt="1"/>
          </p:nvPr>
        </p:nvSpPr>
        <p:spPr>
          <a:xfrm>
            <a:off x="4522236" y="702906"/>
            <a:ext cx="6419461" cy="4988768"/>
          </a:xfrm>
          <a:prstGeom prst="rect">
            <a:avLst/>
          </a:prstGeom>
          <a:solidFill>
            <a:schemeClr val="bg1">
              <a:lumMod val="85000"/>
            </a:schemeClr>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37" name="Title 2">
            <a:extLst>
              <a:ext uri="{FF2B5EF4-FFF2-40B4-BE49-F238E27FC236}">
                <a16:creationId xmlns:a16="http://schemas.microsoft.com/office/drawing/2014/main" id="{88A8023B-78B2-A14A-BB8E-77EB1DA946E0}"/>
              </a:ext>
            </a:extLst>
          </p:cNvPr>
          <p:cNvSpPr>
            <a:spLocks noGrp="1"/>
          </p:cNvSpPr>
          <p:nvPr>
            <p:ph type="title"/>
          </p:nvPr>
        </p:nvSpPr>
        <p:spPr>
          <a:xfrm>
            <a:off x="1148771" y="1892512"/>
            <a:ext cx="3130902" cy="1323439"/>
          </a:xfrm>
        </p:spPr>
        <p:txBody>
          <a:bodyPr wrap="square" anchor="b">
            <a:spAutoFit/>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9559578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hird page image">
    <p:spTree>
      <p:nvGrpSpPr>
        <p:cNvPr id="1" name=""/>
        <p:cNvGrpSpPr/>
        <p:nvPr/>
      </p:nvGrpSpPr>
      <p:grpSpPr>
        <a:xfrm>
          <a:off x="0" y="0"/>
          <a:ext cx="0" cy="0"/>
          <a:chOff x="0" y="0"/>
          <a:chExt cx="0" cy="0"/>
        </a:xfrm>
      </p:grpSpPr>
      <p:sp>
        <p:nvSpPr>
          <p:cNvPr id="31" name="Picture Placeholder 30"/>
          <p:cNvSpPr>
            <a:spLocks noGrp="1"/>
          </p:cNvSpPr>
          <p:nvPr>
            <p:ph type="pic" sz="quarter" idx="10"/>
          </p:nvPr>
        </p:nvSpPr>
        <p:spPr>
          <a:xfrm>
            <a:off x="-1" y="0"/>
            <a:ext cx="3325813" cy="6858000"/>
          </a:xfrm>
          <a:prstGeom prst="rect">
            <a:avLst/>
          </a:prstGeom>
          <a:solidFill>
            <a:schemeClr val="accent2"/>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US"/>
              <a:t>Click icon to add picture</a:t>
            </a:r>
            <a:endParaRPr lang="en-GB" dirty="0"/>
          </a:p>
        </p:txBody>
      </p:sp>
      <p:sp>
        <p:nvSpPr>
          <p:cNvPr id="56" name="Slide Number Placeholder 1"/>
          <p:cNvSpPr>
            <a:spLocks noGrp="1"/>
          </p:cNvSpPr>
          <p:nvPr>
            <p:ph type="sldNum" sz="quarter" idx="4"/>
          </p:nvPr>
        </p:nvSpPr>
        <p:spPr>
          <a:xfrm>
            <a:off x="11468616" y="6556236"/>
            <a:ext cx="388544" cy="208181"/>
          </a:xfrm>
          <a:prstGeom prst="rect">
            <a:avLst/>
          </a:prstGeom>
          <a:noFill/>
        </p:spPr>
        <p:txBody>
          <a:bodyPr vert="horz" lIns="0" tIns="45720" rIns="0" bIns="45720" rtlCol="0" anchor="ctr"/>
          <a:lstStyle>
            <a:lvl1pPr algn="ctr">
              <a:defRPr sz="933" b="0" i="0">
                <a:solidFill>
                  <a:schemeClr val="tx1"/>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1" y="6110714"/>
            <a:ext cx="2648288" cy="653704"/>
          </a:xfrm>
        </p:spPr>
        <p:txBody>
          <a:bodyPr/>
          <a:lstStyle>
            <a:lvl1pPr>
              <a:defRPr>
                <a:solidFill>
                  <a:schemeClr val="bg1"/>
                </a:solidFill>
              </a:defRPr>
            </a:lvl1pPr>
          </a:lstStyle>
          <a:p>
            <a:r>
              <a:rPr lang="en-GB" dirty="0"/>
              <a:t>Footer</a:t>
            </a:r>
          </a:p>
        </p:txBody>
      </p:sp>
      <p:sp>
        <p:nvSpPr>
          <p:cNvPr id="25" name="Text Placeholder 6">
            <a:extLst>
              <a:ext uri="{FF2B5EF4-FFF2-40B4-BE49-F238E27FC236}">
                <a16:creationId xmlns:a16="http://schemas.microsoft.com/office/drawing/2014/main" id="{42CE160F-42C3-C046-9143-1DA4765A4195}"/>
              </a:ext>
            </a:extLst>
          </p:cNvPr>
          <p:cNvSpPr>
            <a:spLocks noGrp="1"/>
          </p:cNvSpPr>
          <p:nvPr>
            <p:ph type="body" sz="quarter" idx="13"/>
          </p:nvPr>
        </p:nvSpPr>
        <p:spPr>
          <a:xfrm>
            <a:off x="331789" y="3018836"/>
            <a:ext cx="2651339" cy="2528249"/>
          </a:xfrm>
        </p:spPr>
        <p:txBody>
          <a:bodyPr>
            <a:normAutofit/>
          </a:bodyPr>
          <a:lstStyle>
            <a:lvl1pPr>
              <a:defRPr sz="1200">
                <a:solidFill>
                  <a:schemeClr val="bg1"/>
                </a:solidFill>
              </a:defRPr>
            </a:lvl1pPr>
          </a:lstStyle>
          <a:p>
            <a:pPr lvl="0"/>
            <a:r>
              <a:rPr lang="en-US"/>
              <a:t>Click to edit Master text styles</a:t>
            </a:r>
          </a:p>
        </p:txBody>
      </p:sp>
      <p:sp>
        <p:nvSpPr>
          <p:cNvPr id="26" name="Title 2">
            <a:extLst>
              <a:ext uri="{FF2B5EF4-FFF2-40B4-BE49-F238E27FC236}">
                <a16:creationId xmlns:a16="http://schemas.microsoft.com/office/drawing/2014/main" id="{377F4246-3EFE-7844-8A93-FCBC49832F49}"/>
              </a:ext>
            </a:extLst>
          </p:cNvPr>
          <p:cNvSpPr>
            <a:spLocks noGrp="1"/>
          </p:cNvSpPr>
          <p:nvPr>
            <p:ph type="title" hasCustomPrompt="1"/>
          </p:nvPr>
        </p:nvSpPr>
        <p:spPr>
          <a:xfrm>
            <a:off x="337803" y="300381"/>
            <a:ext cx="2651339" cy="2554545"/>
          </a:xfrm>
        </p:spPr>
        <p:txBody>
          <a:bodyPr wrap="square">
            <a:spAutoFit/>
          </a:bodyPr>
          <a:lstStyle>
            <a:lvl1pPr>
              <a:defRPr b="0">
                <a:solidFill>
                  <a:schemeClr val="bg1"/>
                </a:solidFill>
              </a:defRPr>
            </a:lvl1pPr>
          </a:lstStyle>
          <a:p>
            <a:r>
              <a:rPr lang="en-US" dirty="0"/>
              <a:t>This layout is great for graphs or large images</a:t>
            </a:r>
            <a:endParaRPr lang="en-GB" dirty="0"/>
          </a:p>
        </p:txBody>
      </p:sp>
      <p:sp>
        <p:nvSpPr>
          <p:cNvPr id="4" name="Chart Placeholder 3">
            <a:extLst>
              <a:ext uri="{FF2B5EF4-FFF2-40B4-BE49-F238E27FC236}">
                <a16:creationId xmlns:a16="http://schemas.microsoft.com/office/drawing/2014/main" id="{137E4F68-EA45-8042-9872-FD8FCE8CDD8E}"/>
              </a:ext>
            </a:extLst>
          </p:cNvPr>
          <p:cNvSpPr>
            <a:spLocks noGrp="1"/>
          </p:cNvSpPr>
          <p:nvPr>
            <p:ph type="chart" sz="quarter" idx="15"/>
          </p:nvPr>
        </p:nvSpPr>
        <p:spPr>
          <a:xfrm>
            <a:off x="3657602" y="300038"/>
            <a:ext cx="8199436" cy="5934075"/>
          </a:xfrm>
        </p:spPr>
        <p:txBody>
          <a:bodyPr/>
          <a:lstStyle/>
          <a:p>
            <a:r>
              <a:rPr lang="en-US"/>
              <a:t>Click icon to add chart</a:t>
            </a:r>
          </a:p>
        </p:txBody>
      </p:sp>
    </p:spTree>
    <p:extLst>
      <p:ext uri="{BB962C8B-B14F-4D97-AF65-F5344CB8AC3E}">
        <p14:creationId xmlns:p14="http://schemas.microsoft.com/office/powerpoint/2010/main" val="28110479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Black Image/Colour">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12191999" cy="6448636"/>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5" name="Text Placeholder 4">
            <a:extLst>
              <a:ext uri="{FF2B5EF4-FFF2-40B4-BE49-F238E27FC236}">
                <a16:creationId xmlns:a16="http://schemas.microsoft.com/office/drawing/2014/main" id="{18F45A1D-F077-914D-8831-2CD7DF9B0C91}"/>
              </a:ext>
            </a:extLst>
          </p:cNvPr>
          <p:cNvSpPr>
            <a:spLocks noGrp="1"/>
          </p:cNvSpPr>
          <p:nvPr>
            <p:ph type="body" sz="quarter" idx="15" hasCustomPrompt="1"/>
          </p:nvPr>
        </p:nvSpPr>
        <p:spPr>
          <a:xfrm>
            <a:off x="1482590" y="1733611"/>
            <a:ext cx="2774950" cy="2774950"/>
          </a:xfrm>
          <a:gradFill>
            <a:gsLst>
              <a:gs pos="100000">
                <a:schemeClr val="tx2"/>
              </a:gs>
              <a:gs pos="0">
                <a:schemeClr val="bg1"/>
              </a:gs>
              <a:gs pos="44000">
                <a:schemeClr val="bg2"/>
              </a:gs>
            </a:gsLst>
            <a:lin ang="2700000" scaled="1"/>
          </a:gradFill>
        </p:spPr>
        <p:txBody>
          <a:bodyPr anchor="ctr"/>
          <a:lstStyle>
            <a:lvl1pPr algn="ctr" defTabSz="609585" rtl="0" fontAlgn="base">
              <a:spcBef>
                <a:spcPct val="0"/>
              </a:spcBef>
              <a:spcAft>
                <a:spcPct val="0"/>
              </a:spcAft>
              <a:defRPr lang="en-US" sz="8800" b="1" i="0" kern="1200" spc="-150" dirty="0" smtClean="0">
                <a:solidFill>
                  <a:schemeClr val="bg1"/>
                </a:solidFill>
                <a:latin typeface="Oswald" pitchFamily="2" charset="77"/>
                <a:ea typeface="Oswald" pitchFamily="2" charset="77"/>
                <a:cs typeface="Oswald" pitchFamily="2" charset="77"/>
              </a:defRPr>
            </a:lvl1pPr>
            <a:lvl2pPr algn="ctr" defTabSz="609585" rtl="0" fontAlgn="base">
              <a:spcBef>
                <a:spcPct val="0"/>
              </a:spcBef>
              <a:spcAft>
                <a:spcPct val="0"/>
              </a:spcAft>
              <a:defRPr lang="en-US" sz="8800" kern="1200" dirty="0" smtClean="0">
                <a:solidFill>
                  <a:schemeClr val="bg1"/>
                </a:solidFill>
                <a:latin typeface="Oswald Light" pitchFamily="2" charset="77"/>
                <a:ea typeface="Oswald Light" charset="0"/>
                <a:cs typeface="Oswald Light" charset="0"/>
              </a:defRPr>
            </a:lvl2pPr>
            <a:lvl3pPr algn="ctr" defTabSz="609585" rtl="0" fontAlgn="base">
              <a:spcBef>
                <a:spcPct val="0"/>
              </a:spcBef>
              <a:spcAft>
                <a:spcPct val="0"/>
              </a:spcAft>
              <a:defRPr lang="en-US" sz="8800" kern="1200" dirty="0" smtClean="0">
                <a:solidFill>
                  <a:schemeClr val="bg1"/>
                </a:solidFill>
                <a:latin typeface="Oswald Light" pitchFamily="2" charset="77"/>
                <a:ea typeface="Oswald Light" charset="0"/>
                <a:cs typeface="Oswald Light" charset="0"/>
              </a:defRPr>
            </a:lvl3pPr>
            <a:lvl4pPr algn="ctr" defTabSz="609585" rtl="0" fontAlgn="base">
              <a:spcBef>
                <a:spcPct val="0"/>
              </a:spcBef>
              <a:spcAft>
                <a:spcPct val="0"/>
              </a:spcAft>
              <a:defRPr lang="en-US" sz="8800" kern="1200" dirty="0" smtClean="0">
                <a:solidFill>
                  <a:schemeClr val="bg1"/>
                </a:solidFill>
                <a:latin typeface="Oswald Light" pitchFamily="2" charset="77"/>
                <a:ea typeface="Oswald Light" charset="0"/>
                <a:cs typeface="Oswald Light" charset="0"/>
              </a:defRPr>
            </a:lvl4pPr>
            <a:lvl5pPr algn="ctr" defTabSz="609585" rtl="0" fontAlgn="base">
              <a:spcBef>
                <a:spcPct val="0"/>
              </a:spcBef>
              <a:spcAft>
                <a:spcPct val="0"/>
              </a:spcAft>
              <a:defRPr lang="en-US" sz="8800" kern="1200" dirty="0">
                <a:solidFill>
                  <a:schemeClr val="bg1"/>
                </a:solidFill>
                <a:latin typeface="Oswald Light" pitchFamily="2" charset="77"/>
                <a:ea typeface="Oswald Light" charset="0"/>
                <a:cs typeface="Oswald Light" charset="0"/>
              </a:defRPr>
            </a:lvl5pPr>
          </a:lstStyle>
          <a:p>
            <a:pPr lvl="0"/>
            <a:r>
              <a:rPr lang="en-US" dirty="0"/>
              <a:t>XX</a:t>
            </a:r>
          </a:p>
        </p:txBody>
      </p:sp>
      <p:sp>
        <p:nvSpPr>
          <p:cNvPr id="7" name="Text Placeholder 6">
            <a:extLst>
              <a:ext uri="{FF2B5EF4-FFF2-40B4-BE49-F238E27FC236}">
                <a16:creationId xmlns:a16="http://schemas.microsoft.com/office/drawing/2014/main" id="{4B66D465-6887-8343-8ACB-F9375141826A}"/>
              </a:ext>
            </a:extLst>
          </p:cNvPr>
          <p:cNvSpPr>
            <a:spLocks noGrp="1"/>
          </p:cNvSpPr>
          <p:nvPr>
            <p:ph type="body" sz="quarter" idx="16" hasCustomPrompt="1"/>
          </p:nvPr>
        </p:nvSpPr>
        <p:spPr>
          <a:xfrm>
            <a:off x="4257675" y="1733550"/>
            <a:ext cx="6438900" cy="2774950"/>
          </a:xfrm>
          <a:solidFill>
            <a:srgbClr val="FFFFFF"/>
          </a:solidFill>
        </p:spPr>
        <p:txBody>
          <a:bodyPr lIns="324000" rIns="324000" anchor="ctr"/>
          <a:lstStyle>
            <a:lvl1pPr marL="0" marR="0" indent="0" algn="l" defTabSz="609585" rtl="0" eaLnBrk="1" fontAlgn="auto" latinLnBrk="0" hangingPunct="1">
              <a:lnSpc>
                <a:spcPct val="114000"/>
              </a:lnSpc>
              <a:spcBef>
                <a:spcPct val="0"/>
              </a:spcBef>
              <a:spcAft>
                <a:spcPts val="0"/>
              </a:spcAft>
              <a:buClrTx/>
              <a:buSzTx/>
              <a:buFont typeface="Arial"/>
              <a:buNone/>
              <a:tabLst/>
              <a:defRPr lang="en-US" sz="1600" kern="1200" dirty="0" smtClean="0">
                <a:solidFill>
                  <a:schemeClr val="tx1"/>
                </a:solidFill>
                <a:latin typeface="Arial" panose="020B0604020202020204" pitchFamily="34" charset="0"/>
                <a:ea typeface="ＭＳ Ｐゴシック" charset="0"/>
                <a:cs typeface="Arial" panose="020B0604020202020204" pitchFamily="34" charset="0"/>
              </a:defRPr>
            </a:lvl1pPr>
            <a:lvl2pPr algn="l" defTabSz="609585" rtl="0" fontAlgn="auto">
              <a:lnSpc>
                <a:spcPct val="114000"/>
              </a:lnSpc>
              <a:spcBef>
                <a:spcPct val="0"/>
              </a:spcBef>
              <a:spcAft>
                <a:spcPts val="0"/>
              </a:spcAft>
              <a:defRPr lang="en-US" sz="1600" kern="1200" dirty="0" smtClean="0">
                <a:solidFill>
                  <a:schemeClr val="tx1"/>
                </a:solidFill>
                <a:latin typeface="Arial" panose="020B0604020202020204" pitchFamily="34" charset="0"/>
                <a:ea typeface="ＭＳ Ｐゴシック" charset="0"/>
                <a:cs typeface="Arial" panose="020B0604020202020204" pitchFamily="34" charset="0"/>
              </a:defRPr>
            </a:lvl2pPr>
            <a:lvl3pPr algn="l" defTabSz="609585" rtl="0" fontAlgn="auto">
              <a:lnSpc>
                <a:spcPct val="114000"/>
              </a:lnSpc>
              <a:spcBef>
                <a:spcPct val="0"/>
              </a:spcBef>
              <a:spcAft>
                <a:spcPts val="0"/>
              </a:spcAft>
              <a:defRPr lang="en-US" sz="1600" kern="1200" dirty="0" smtClean="0">
                <a:solidFill>
                  <a:schemeClr val="tx1"/>
                </a:solidFill>
                <a:latin typeface="Arial" panose="020B0604020202020204" pitchFamily="34" charset="0"/>
                <a:ea typeface="ＭＳ Ｐゴシック" charset="0"/>
                <a:cs typeface="Arial" panose="020B0604020202020204" pitchFamily="34" charset="0"/>
              </a:defRPr>
            </a:lvl3pPr>
            <a:lvl4pPr marL="6350" indent="0" algn="l" defTabSz="609585" rtl="0" fontAlgn="auto">
              <a:lnSpc>
                <a:spcPct val="114000"/>
              </a:lnSpc>
              <a:spcBef>
                <a:spcPct val="0"/>
              </a:spcBef>
              <a:spcAft>
                <a:spcPts val="0"/>
              </a:spcAft>
              <a:buNone/>
              <a:defRPr lang="en-US" sz="1600" kern="1200" dirty="0" smtClean="0">
                <a:solidFill>
                  <a:schemeClr val="tx1"/>
                </a:solidFill>
                <a:latin typeface="Arial" panose="020B0604020202020204" pitchFamily="34" charset="0"/>
                <a:ea typeface="ＭＳ Ｐゴシック" charset="0"/>
                <a:cs typeface="Arial" panose="020B0604020202020204" pitchFamily="34" charset="0"/>
              </a:defRPr>
            </a:lvl4pPr>
            <a:lvl5pPr marL="239176" indent="0" algn="l" defTabSz="609585" rtl="0" fontAlgn="auto">
              <a:lnSpc>
                <a:spcPct val="114000"/>
              </a:lnSpc>
              <a:spcBef>
                <a:spcPct val="0"/>
              </a:spcBef>
              <a:spcAft>
                <a:spcPts val="0"/>
              </a:spcAft>
              <a:buNone/>
              <a:defRPr lang="en-US" sz="1600" kern="1200" dirty="0">
                <a:solidFill>
                  <a:schemeClr val="tx1"/>
                </a:solidFill>
                <a:latin typeface="Arial" panose="020B0604020202020204" pitchFamily="34" charset="0"/>
                <a:ea typeface="ＭＳ Ｐゴシック" charset="0"/>
                <a:cs typeface="Arial" panose="020B0604020202020204" pitchFamily="34" charset="0"/>
              </a:defRPr>
            </a:lvl5pPr>
          </a:lstStyle>
          <a:p>
            <a:pPr marL="0" marR="0" lvl="0" indent="0" algn="l" defTabSz="609585" rtl="0" eaLnBrk="1" fontAlgn="auto" latinLnBrk="0" hangingPunct="1">
              <a:lnSpc>
                <a:spcPct val="114000"/>
              </a:lnSpc>
              <a:spcBef>
                <a:spcPct val="0"/>
              </a:spcBef>
              <a:spcAft>
                <a:spcPts val="0"/>
              </a:spcAft>
              <a:buClrTx/>
              <a:buSzTx/>
              <a:buFont typeface="Arial"/>
              <a:buNone/>
              <a:tabLst/>
              <a:defRPr/>
            </a:pPr>
            <a:r>
              <a:rPr lang="en-US" dirty="0"/>
              <a:t>A large amount of copy can go here. </a:t>
            </a:r>
            <a:r>
              <a:rPr lang="en-GB" sz="1600" dirty="0">
                <a:latin typeface="Arial" panose="020B0604020202020204" pitchFamily="34" charset="0"/>
                <a:cs typeface="Arial" panose="020B0604020202020204" pitchFamily="34" charset="0"/>
              </a:rPr>
              <a:t>We’ve travelled extensively through the fertile valleys of Jordan, mountainous villages of Lebanon and vibrant cities of Beirut, Istanbul, Tel Aviv, and Jerusalem to procure the finest middle-eastern ingredients.</a:t>
            </a:r>
            <a:endParaRPr lang="en-US" dirty="0"/>
          </a:p>
        </p:txBody>
      </p:sp>
    </p:spTree>
    <p:extLst>
      <p:ext uri="{BB962C8B-B14F-4D97-AF65-F5344CB8AC3E}">
        <p14:creationId xmlns:p14="http://schemas.microsoft.com/office/powerpoint/2010/main" val="42301917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points over image">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3124200" cy="6858000"/>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noFill/>
        </p:spPr>
        <p:txBody>
          <a:bodyPr vert="horz" lIns="0" tIns="45720" rIns="0" bIns="45720" rtlCol="0" anchor="ctr"/>
          <a:lstStyle>
            <a:lvl1pPr algn="ctr">
              <a:defRPr sz="933" b="0" i="0">
                <a:solidFill>
                  <a:schemeClr val="tx1"/>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 name="Title 2">
            <a:extLst>
              <a:ext uri="{FF2B5EF4-FFF2-40B4-BE49-F238E27FC236}">
                <a16:creationId xmlns:a16="http://schemas.microsoft.com/office/drawing/2014/main" id="{85F2E019-E3C7-474B-B276-F1756867F17A}"/>
              </a:ext>
            </a:extLst>
          </p:cNvPr>
          <p:cNvSpPr>
            <a:spLocks noGrp="1"/>
          </p:cNvSpPr>
          <p:nvPr>
            <p:ph type="title"/>
          </p:nvPr>
        </p:nvSpPr>
        <p:spPr>
          <a:xfrm>
            <a:off x="3326221" y="300381"/>
            <a:ext cx="8540523" cy="1603064"/>
          </a:xfrm>
        </p:spPr>
        <p:txBody>
          <a:bodyPr/>
          <a:lstStyle/>
          <a:p>
            <a:r>
              <a:rPr lang="en-US"/>
              <a:t>Click to edit Master title style</a:t>
            </a:r>
            <a:endParaRPr lang="en-GB" dirty="0"/>
          </a:p>
        </p:txBody>
      </p:sp>
      <p:sp>
        <p:nvSpPr>
          <p:cNvPr id="6" name="Text Placeholder 5">
            <a:extLst>
              <a:ext uri="{FF2B5EF4-FFF2-40B4-BE49-F238E27FC236}">
                <a16:creationId xmlns:a16="http://schemas.microsoft.com/office/drawing/2014/main" id="{60ACFCCF-136E-CE4E-85DB-A566BD9FE9EF}"/>
              </a:ext>
            </a:extLst>
          </p:cNvPr>
          <p:cNvSpPr>
            <a:spLocks noGrp="1"/>
          </p:cNvSpPr>
          <p:nvPr>
            <p:ph type="body" sz="quarter" idx="15" hasCustomPrompt="1"/>
          </p:nvPr>
        </p:nvSpPr>
        <p:spPr>
          <a:xfrm>
            <a:off x="2613025" y="2165947"/>
            <a:ext cx="1001713" cy="1001712"/>
          </a:xfrm>
          <a:solidFill>
            <a:schemeClr val="bg2"/>
          </a:solidFill>
          <a:ln w="19050">
            <a:solidFill>
              <a:schemeClr val="bg1"/>
            </a:solidFill>
          </a:ln>
        </p:spPr>
        <p:txBody>
          <a:bodyPr anchor="ctr">
            <a:noAutofit/>
          </a:bodyPr>
          <a:lstStyle>
            <a:lvl1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1pPr>
            <a:lvl2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2pPr>
            <a:lvl3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3pPr>
            <a:lvl4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4pPr>
            <a:lvl5pPr algn="ctr" defTabSz="609585" rtl="0" fontAlgn="base">
              <a:spcBef>
                <a:spcPct val="0"/>
              </a:spcBef>
              <a:spcAft>
                <a:spcPct val="0"/>
              </a:spcAft>
              <a:defRPr lang="en-US" sz="3600" kern="1200" dirty="0">
                <a:solidFill>
                  <a:schemeClr val="bg1"/>
                </a:solidFill>
                <a:latin typeface="Oswald Light" pitchFamily="2" charset="77"/>
                <a:ea typeface="Oswald Light" charset="0"/>
                <a:cs typeface="Oswald Light" charset="0"/>
              </a:defRPr>
            </a:lvl5pPr>
          </a:lstStyle>
          <a:p>
            <a:pPr lvl="0"/>
            <a:r>
              <a:rPr lang="en-US" dirty="0"/>
              <a:t>XX</a:t>
            </a:r>
          </a:p>
        </p:txBody>
      </p:sp>
      <p:sp>
        <p:nvSpPr>
          <p:cNvPr id="51" name="Text Placeholder 5">
            <a:extLst>
              <a:ext uri="{FF2B5EF4-FFF2-40B4-BE49-F238E27FC236}">
                <a16:creationId xmlns:a16="http://schemas.microsoft.com/office/drawing/2014/main" id="{58A35F01-8C91-A142-AED2-9595AB47591D}"/>
              </a:ext>
            </a:extLst>
          </p:cNvPr>
          <p:cNvSpPr>
            <a:spLocks noGrp="1"/>
          </p:cNvSpPr>
          <p:nvPr>
            <p:ph type="body" sz="quarter" idx="16" hasCustomPrompt="1"/>
          </p:nvPr>
        </p:nvSpPr>
        <p:spPr>
          <a:xfrm>
            <a:off x="2613025" y="3639830"/>
            <a:ext cx="1001713" cy="1001712"/>
          </a:xfrm>
          <a:solidFill>
            <a:schemeClr val="bg2"/>
          </a:solidFill>
          <a:ln w="19050">
            <a:solidFill>
              <a:schemeClr val="bg1"/>
            </a:solidFill>
          </a:ln>
        </p:spPr>
        <p:txBody>
          <a:bodyPr anchor="ctr">
            <a:noAutofit/>
          </a:bodyPr>
          <a:lstStyle>
            <a:lvl1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1pPr>
            <a:lvl2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2pPr>
            <a:lvl3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3pPr>
            <a:lvl4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4pPr>
            <a:lvl5pPr algn="ctr" defTabSz="609585" rtl="0" fontAlgn="base">
              <a:spcBef>
                <a:spcPct val="0"/>
              </a:spcBef>
              <a:spcAft>
                <a:spcPct val="0"/>
              </a:spcAft>
              <a:defRPr lang="en-US" sz="3600" kern="1200" dirty="0">
                <a:solidFill>
                  <a:schemeClr val="bg1"/>
                </a:solidFill>
                <a:latin typeface="Oswald Light" pitchFamily="2" charset="77"/>
                <a:ea typeface="Oswald Light" charset="0"/>
                <a:cs typeface="Oswald Light" charset="0"/>
              </a:defRPr>
            </a:lvl5pPr>
          </a:lstStyle>
          <a:p>
            <a:pPr lvl="0"/>
            <a:r>
              <a:rPr lang="en-US" dirty="0"/>
              <a:t>XX</a:t>
            </a:r>
          </a:p>
        </p:txBody>
      </p:sp>
      <p:sp>
        <p:nvSpPr>
          <p:cNvPr id="52" name="Text Placeholder 5">
            <a:extLst>
              <a:ext uri="{FF2B5EF4-FFF2-40B4-BE49-F238E27FC236}">
                <a16:creationId xmlns:a16="http://schemas.microsoft.com/office/drawing/2014/main" id="{5C0522EB-4735-4A43-BF48-302A60F6C6E4}"/>
              </a:ext>
            </a:extLst>
          </p:cNvPr>
          <p:cNvSpPr>
            <a:spLocks noGrp="1"/>
          </p:cNvSpPr>
          <p:nvPr>
            <p:ph type="body" sz="quarter" idx="17" hasCustomPrompt="1"/>
          </p:nvPr>
        </p:nvSpPr>
        <p:spPr>
          <a:xfrm>
            <a:off x="2613025" y="5113713"/>
            <a:ext cx="1001713" cy="1001712"/>
          </a:xfrm>
          <a:solidFill>
            <a:schemeClr val="bg2"/>
          </a:solidFill>
          <a:ln w="19050">
            <a:solidFill>
              <a:schemeClr val="bg1"/>
            </a:solidFill>
          </a:ln>
        </p:spPr>
        <p:txBody>
          <a:bodyPr anchor="ctr">
            <a:noAutofit/>
          </a:bodyPr>
          <a:lstStyle>
            <a:lvl1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1pPr>
            <a:lvl2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2pPr>
            <a:lvl3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3pPr>
            <a:lvl4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4pPr>
            <a:lvl5pPr algn="ctr" defTabSz="609585" rtl="0" fontAlgn="base">
              <a:spcBef>
                <a:spcPct val="0"/>
              </a:spcBef>
              <a:spcAft>
                <a:spcPct val="0"/>
              </a:spcAft>
              <a:defRPr lang="en-US" sz="3600" kern="1200" dirty="0">
                <a:solidFill>
                  <a:schemeClr val="bg1"/>
                </a:solidFill>
                <a:latin typeface="Oswald Light" pitchFamily="2" charset="77"/>
                <a:ea typeface="Oswald Light" charset="0"/>
                <a:cs typeface="Oswald Light" charset="0"/>
              </a:defRPr>
            </a:lvl5pPr>
          </a:lstStyle>
          <a:p>
            <a:pPr lvl="0"/>
            <a:r>
              <a:rPr lang="en-US" dirty="0"/>
              <a:t>XX</a:t>
            </a:r>
          </a:p>
        </p:txBody>
      </p:sp>
      <p:sp>
        <p:nvSpPr>
          <p:cNvPr id="8" name="Text Placeholder 7">
            <a:extLst>
              <a:ext uri="{FF2B5EF4-FFF2-40B4-BE49-F238E27FC236}">
                <a16:creationId xmlns:a16="http://schemas.microsoft.com/office/drawing/2014/main" id="{6A4EE5A7-AC03-3D40-9EE8-CDC327E172B8}"/>
              </a:ext>
            </a:extLst>
          </p:cNvPr>
          <p:cNvSpPr>
            <a:spLocks noGrp="1"/>
          </p:cNvSpPr>
          <p:nvPr>
            <p:ph type="body" sz="quarter" idx="18" hasCustomPrompt="1"/>
          </p:nvPr>
        </p:nvSpPr>
        <p:spPr>
          <a:xfrm>
            <a:off x="3862388" y="2165350"/>
            <a:ext cx="5972175" cy="1001713"/>
          </a:xfrm>
        </p:spPr>
        <p:txBody>
          <a:bodyPr anchor="ctr">
            <a:normAutofit/>
          </a:bodyPr>
          <a:lstStyle>
            <a:lvl1pPr algn="l" defTabSz="609585" rtl="0" fontAlgn="auto">
              <a:lnSpc>
                <a:spcPct val="114000"/>
              </a:lnSpc>
              <a:spcBef>
                <a:spcPct val="0"/>
              </a:spcBef>
              <a:spcAft>
                <a:spcPts val="0"/>
              </a:spcAft>
              <a:defRPr lang="en-US" sz="1200" kern="1200" dirty="0" smtClean="0">
                <a:solidFill>
                  <a:schemeClr val="tx1"/>
                </a:solidFill>
                <a:latin typeface="Arial" panose="020B0604020202020204" pitchFamily="34" charset="0"/>
                <a:ea typeface="ＭＳ Ｐゴシック" charset="0"/>
                <a:cs typeface="Arial" panose="020B0604020202020204" pitchFamily="34" charset="0"/>
              </a:defRPr>
            </a:lvl1pPr>
            <a:lvl2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2pPr>
            <a:lvl3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3pPr>
            <a:lvl4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4pPr>
            <a:lvl5pPr algn="l" defTabSz="609585" rtl="0" fontAlgn="auto">
              <a:lnSpc>
                <a:spcPct val="114000"/>
              </a:lnSpc>
              <a:spcBef>
                <a:spcPct val="0"/>
              </a:spcBef>
              <a:spcAft>
                <a:spcPts val="0"/>
              </a:spcAft>
              <a:defRPr lang="en-US" sz="1400" kern="1200" dirty="0">
                <a:solidFill>
                  <a:schemeClr val="tx1"/>
                </a:solidFill>
                <a:latin typeface="Arial" panose="020B0604020202020204" pitchFamily="34" charset="0"/>
                <a:ea typeface="ＭＳ Ｐゴシック" charset="0"/>
                <a:cs typeface="Arial" panose="020B0604020202020204" pitchFamily="34" charset="0"/>
              </a:defRPr>
            </a:lvl5pPr>
          </a:lstStyle>
          <a:p>
            <a:pPr lvl="0"/>
            <a:r>
              <a:rPr lang="en-US" dirty="0"/>
              <a:t>Text goes here</a:t>
            </a:r>
          </a:p>
        </p:txBody>
      </p:sp>
      <p:sp>
        <p:nvSpPr>
          <p:cNvPr id="53" name="Text Placeholder 7">
            <a:extLst>
              <a:ext uri="{FF2B5EF4-FFF2-40B4-BE49-F238E27FC236}">
                <a16:creationId xmlns:a16="http://schemas.microsoft.com/office/drawing/2014/main" id="{6871592E-73AF-AF42-99AE-B617891F53EC}"/>
              </a:ext>
            </a:extLst>
          </p:cNvPr>
          <p:cNvSpPr>
            <a:spLocks noGrp="1"/>
          </p:cNvSpPr>
          <p:nvPr>
            <p:ph type="body" sz="quarter" idx="19" hasCustomPrompt="1"/>
          </p:nvPr>
        </p:nvSpPr>
        <p:spPr>
          <a:xfrm>
            <a:off x="3862388" y="3639829"/>
            <a:ext cx="5972175" cy="1001713"/>
          </a:xfrm>
        </p:spPr>
        <p:txBody>
          <a:bodyPr anchor="ctr">
            <a:normAutofit/>
          </a:bodyPr>
          <a:lstStyle>
            <a:lvl1pPr algn="l" defTabSz="609585" rtl="0" fontAlgn="auto">
              <a:lnSpc>
                <a:spcPct val="114000"/>
              </a:lnSpc>
              <a:spcBef>
                <a:spcPct val="0"/>
              </a:spcBef>
              <a:spcAft>
                <a:spcPts val="0"/>
              </a:spcAft>
              <a:defRPr lang="en-US" sz="1200" kern="1200" dirty="0" smtClean="0">
                <a:solidFill>
                  <a:schemeClr val="tx1"/>
                </a:solidFill>
                <a:latin typeface="Arial" panose="020B0604020202020204" pitchFamily="34" charset="0"/>
                <a:ea typeface="ＭＳ Ｐゴシック" charset="0"/>
                <a:cs typeface="Arial" panose="020B0604020202020204" pitchFamily="34" charset="0"/>
              </a:defRPr>
            </a:lvl1pPr>
            <a:lvl2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2pPr>
            <a:lvl3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3pPr>
            <a:lvl4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4pPr>
            <a:lvl5pPr algn="l" defTabSz="609585" rtl="0" fontAlgn="auto">
              <a:lnSpc>
                <a:spcPct val="114000"/>
              </a:lnSpc>
              <a:spcBef>
                <a:spcPct val="0"/>
              </a:spcBef>
              <a:spcAft>
                <a:spcPts val="0"/>
              </a:spcAft>
              <a:defRPr lang="en-US" sz="1400" kern="1200" dirty="0">
                <a:solidFill>
                  <a:schemeClr val="tx1"/>
                </a:solidFill>
                <a:latin typeface="Arial" panose="020B0604020202020204" pitchFamily="34" charset="0"/>
                <a:ea typeface="ＭＳ Ｐゴシック" charset="0"/>
                <a:cs typeface="Arial" panose="020B0604020202020204" pitchFamily="34" charset="0"/>
              </a:defRPr>
            </a:lvl5pPr>
          </a:lstStyle>
          <a:p>
            <a:pPr lvl="0"/>
            <a:r>
              <a:rPr lang="en-US" dirty="0"/>
              <a:t>Text goes here</a:t>
            </a:r>
          </a:p>
        </p:txBody>
      </p:sp>
      <p:sp>
        <p:nvSpPr>
          <p:cNvPr id="54" name="Text Placeholder 7">
            <a:extLst>
              <a:ext uri="{FF2B5EF4-FFF2-40B4-BE49-F238E27FC236}">
                <a16:creationId xmlns:a16="http://schemas.microsoft.com/office/drawing/2014/main" id="{4FF16431-9E78-E44C-B213-009E7C8D82ED}"/>
              </a:ext>
            </a:extLst>
          </p:cNvPr>
          <p:cNvSpPr>
            <a:spLocks noGrp="1"/>
          </p:cNvSpPr>
          <p:nvPr>
            <p:ph type="body" sz="quarter" idx="20" hasCustomPrompt="1"/>
          </p:nvPr>
        </p:nvSpPr>
        <p:spPr>
          <a:xfrm>
            <a:off x="3862388" y="5113712"/>
            <a:ext cx="5972175" cy="1001713"/>
          </a:xfrm>
        </p:spPr>
        <p:txBody>
          <a:bodyPr anchor="ctr">
            <a:normAutofit/>
          </a:bodyPr>
          <a:lstStyle>
            <a:lvl1pPr algn="l" defTabSz="609585" rtl="0" fontAlgn="auto">
              <a:lnSpc>
                <a:spcPct val="114000"/>
              </a:lnSpc>
              <a:spcBef>
                <a:spcPct val="0"/>
              </a:spcBef>
              <a:spcAft>
                <a:spcPts val="0"/>
              </a:spcAft>
              <a:defRPr lang="en-US" sz="1200" kern="1200" dirty="0" smtClean="0">
                <a:solidFill>
                  <a:schemeClr val="tx1"/>
                </a:solidFill>
                <a:latin typeface="Arial" panose="020B0604020202020204" pitchFamily="34" charset="0"/>
                <a:ea typeface="ＭＳ Ｐゴシック" charset="0"/>
                <a:cs typeface="Arial" panose="020B0604020202020204" pitchFamily="34" charset="0"/>
              </a:defRPr>
            </a:lvl1pPr>
            <a:lvl2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2pPr>
            <a:lvl3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3pPr>
            <a:lvl4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4pPr>
            <a:lvl5pPr algn="l" defTabSz="609585" rtl="0" fontAlgn="auto">
              <a:lnSpc>
                <a:spcPct val="114000"/>
              </a:lnSpc>
              <a:spcBef>
                <a:spcPct val="0"/>
              </a:spcBef>
              <a:spcAft>
                <a:spcPts val="0"/>
              </a:spcAft>
              <a:defRPr lang="en-US" sz="1400" kern="1200" dirty="0">
                <a:solidFill>
                  <a:schemeClr val="tx1"/>
                </a:solidFill>
                <a:latin typeface="Arial" panose="020B0604020202020204" pitchFamily="34" charset="0"/>
                <a:ea typeface="ＭＳ Ｐゴシック" charset="0"/>
                <a:cs typeface="Arial" panose="020B0604020202020204" pitchFamily="34" charset="0"/>
              </a:defRPr>
            </a:lvl5pPr>
          </a:lstStyle>
          <a:p>
            <a:pPr lvl="0"/>
            <a:r>
              <a:rPr lang="en-US" dirty="0"/>
              <a:t>Text goes here</a:t>
            </a:r>
          </a:p>
        </p:txBody>
      </p:sp>
    </p:spTree>
    <p:extLst>
      <p:ext uri="{BB962C8B-B14F-4D97-AF65-F5344CB8AC3E}">
        <p14:creationId xmlns:p14="http://schemas.microsoft.com/office/powerpoint/2010/main" val="26718796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points over an image">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3124200" cy="6858000"/>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noFill/>
        </p:spPr>
        <p:txBody>
          <a:bodyPr vert="horz" lIns="0" tIns="45720" rIns="0" bIns="45720" rtlCol="0" anchor="ctr"/>
          <a:lstStyle>
            <a:lvl1pPr algn="ctr">
              <a:defRPr sz="933" b="0" i="0">
                <a:solidFill>
                  <a:schemeClr val="tx1"/>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 name="Title 2">
            <a:extLst>
              <a:ext uri="{FF2B5EF4-FFF2-40B4-BE49-F238E27FC236}">
                <a16:creationId xmlns:a16="http://schemas.microsoft.com/office/drawing/2014/main" id="{85F2E019-E3C7-474B-B276-F1756867F17A}"/>
              </a:ext>
            </a:extLst>
          </p:cNvPr>
          <p:cNvSpPr>
            <a:spLocks noGrp="1"/>
          </p:cNvSpPr>
          <p:nvPr>
            <p:ph type="title"/>
          </p:nvPr>
        </p:nvSpPr>
        <p:spPr>
          <a:xfrm>
            <a:off x="3326221" y="300381"/>
            <a:ext cx="8540523" cy="1085553"/>
          </a:xfrm>
        </p:spPr>
        <p:txBody>
          <a:bodyPr/>
          <a:lstStyle/>
          <a:p>
            <a:r>
              <a:rPr lang="en-US"/>
              <a:t>Click to edit Master title style</a:t>
            </a:r>
            <a:endParaRPr lang="en-GB" dirty="0"/>
          </a:p>
        </p:txBody>
      </p:sp>
      <p:sp>
        <p:nvSpPr>
          <p:cNvPr id="6" name="Text Placeholder 5">
            <a:extLst>
              <a:ext uri="{FF2B5EF4-FFF2-40B4-BE49-F238E27FC236}">
                <a16:creationId xmlns:a16="http://schemas.microsoft.com/office/drawing/2014/main" id="{60ACFCCF-136E-CE4E-85DB-A566BD9FE9EF}"/>
              </a:ext>
            </a:extLst>
          </p:cNvPr>
          <p:cNvSpPr>
            <a:spLocks noGrp="1"/>
          </p:cNvSpPr>
          <p:nvPr>
            <p:ph type="body" sz="quarter" idx="15" hasCustomPrompt="1"/>
          </p:nvPr>
        </p:nvSpPr>
        <p:spPr>
          <a:xfrm>
            <a:off x="2613025" y="1618551"/>
            <a:ext cx="1001713" cy="1001712"/>
          </a:xfrm>
          <a:solidFill>
            <a:schemeClr val="bg2"/>
          </a:solidFill>
          <a:ln w="19050">
            <a:solidFill>
              <a:schemeClr val="bg1"/>
            </a:solidFill>
          </a:ln>
        </p:spPr>
        <p:txBody>
          <a:bodyPr anchor="ctr">
            <a:noAutofit/>
          </a:bodyPr>
          <a:lstStyle>
            <a:lvl1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1pPr>
            <a:lvl2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2pPr>
            <a:lvl3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3pPr>
            <a:lvl4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4pPr>
            <a:lvl5pPr algn="ctr" defTabSz="609585" rtl="0" fontAlgn="base">
              <a:spcBef>
                <a:spcPct val="0"/>
              </a:spcBef>
              <a:spcAft>
                <a:spcPct val="0"/>
              </a:spcAft>
              <a:defRPr lang="en-US" sz="3600" kern="1200" dirty="0">
                <a:solidFill>
                  <a:schemeClr val="bg1"/>
                </a:solidFill>
                <a:latin typeface="Oswald Light" pitchFamily="2" charset="77"/>
                <a:ea typeface="Oswald Light" charset="0"/>
                <a:cs typeface="Oswald Light" charset="0"/>
              </a:defRPr>
            </a:lvl5pPr>
          </a:lstStyle>
          <a:p>
            <a:pPr lvl="0"/>
            <a:r>
              <a:rPr lang="en-US" dirty="0"/>
              <a:t>XX</a:t>
            </a:r>
          </a:p>
        </p:txBody>
      </p:sp>
      <p:sp>
        <p:nvSpPr>
          <p:cNvPr id="51" name="Text Placeholder 5">
            <a:extLst>
              <a:ext uri="{FF2B5EF4-FFF2-40B4-BE49-F238E27FC236}">
                <a16:creationId xmlns:a16="http://schemas.microsoft.com/office/drawing/2014/main" id="{58A35F01-8C91-A142-AED2-9595AB47591D}"/>
              </a:ext>
            </a:extLst>
          </p:cNvPr>
          <p:cNvSpPr>
            <a:spLocks noGrp="1"/>
          </p:cNvSpPr>
          <p:nvPr>
            <p:ph type="body" sz="quarter" idx="16" hasCustomPrompt="1"/>
          </p:nvPr>
        </p:nvSpPr>
        <p:spPr>
          <a:xfrm>
            <a:off x="2613025" y="2830771"/>
            <a:ext cx="1001713" cy="1001712"/>
          </a:xfrm>
          <a:solidFill>
            <a:schemeClr val="bg2"/>
          </a:solidFill>
          <a:ln w="19050">
            <a:solidFill>
              <a:schemeClr val="bg1"/>
            </a:solidFill>
          </a:ln>
        </p:spPr>
        <p:txBody>
          <a:bodyPr anchor="ctr">
            <a:noAutofit/>
          </a:bodyPr>
          <a:lstStyle>
            <a:lvl1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1pPr>
            <a:lvl2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2pPr>
            <a:lvl3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3pPr>
            <a:lvl4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4pPr>
            <a:lvl5pPr algn="ctr" defTabSz="609585" rtl="0" fontAlgn="base">
              <a:spcBef>
                <a:spcPct val="0"/>
              </a:spcBef>
              <a:spcAft>
                <a:spcPct val="0"/>
              </a:spcAft>
              <a:defRPr lang="en-US" sz="3600" kern="1200" dirty="0">
                <a:solidFill>
                  <a:schemeClr val="bg1"/>
                </a:solidFill>
                <a:latin typeface="Oswald Light" pitchFamily="2" charset="77"/>
                <a:ea typeface="Oswald Light" charset="0"/>
                <a:cs typeface="Oswald Light" charset="0"/>
              </a:defRPr>
            </a:lvl5pPr>
          </a:lstStyle>
          <a:p>
            <a:pPr lvl="0"/>
            <a:r>
              <a:rPr lang="en-US" dirty="0"/>
              <a:t>XX</a:t>
            </a:r>
          </a:p>
        </p:txBody>
      </p:sp>
      <p:sp>
        <p:nvSpPr>
          <p:cNvPr id="52" name="Text Placeholder 5">
            <a:extLst>
              <a:ext uri="{FF2B5EF4-FFF2-40B4-BE49-F238E27FC236}">
                <a16:creationId xmlns:a16="http://schemas.microsoft.com/office/drawing/2014/main" id="{5C0522EB-4735-4A43-BF48-302A60F6C6E4}"/>
              </a:ext>
            </a:extLst>
          </p:cNvPr>
          <p:cNvSpPr>
            <a:spLocks noGrp="1"/>
          </p:cNvSpPr>
          <p:nvPr>
            <p:ph type="body" sz="quarter" idx="17" hasCustomPrompt="1"/>
          </p:nvPr>
        </p:nvSpPr>
        <p:spPr>
          <a:xfrm>
            <a:off x="2613025" y="4042991"/>
            <a:ext cx="1001713" cy="1001712"/>
          </a:xfrm>
          <a:solidFill>
            <a:schemeClr val="bg2"/>
          </a:solidFill>
          <a:ln w="19050">
            <a:solidFill>
              <a:schemeClr val="bg1"/>
            </a:solidFill>
          </a:ln>
        </p:spPr>
        <p:txBody>
          <a:bodyPr anchor="ctr">
            <a:noAutofit/>
          </a:bodyPr>
          <a:lstStyle>
            <a:lvl1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1pPr>
            <a:lvl2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2pPr>
            <a:lvl3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3pPr>
            <a:lvl4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4pPr>
            <a:lvl5pPr algn="ctr" defTabSz="609585" rtl="0" fontAlgn="base">
              <a:spcBef>
                <a:spcPct val="0"/>
              </a:spcBef>
              <a:spcAft>
                <a:spcPct val="0"/>
              </a:spcAft>
              <a:defRPr lang="en-US" sz="3600" kern="1200" dirty="0">
                <a:solidFill>
                  <a:schemeClr val="bg1"/>
                </a:solidFill>
                <a:latin typeface="Oswald Light" pitchFamily="2" charset="77"/>
                <a:ea typeface="Oswald Light" charset="0"/>
                <a:cs typeface="Oswald Light" charset="0"/>
              </a:defRPr>
            </a:lvl5pPr>
          </a:lstStyle>
          <a:p>
            <a:pPr lvl="0"/>
            <a:r>
              <a:rPr lang="en-US" dirty="0"/>
              <a:t>XX</a:t>
            </a:r>
          </a:p>
        </p:txBody>
      </p:sp>
      <p:sp>
        <p:nvSpPr>
          <p:cNvPr id="8" name="Text Placeholder 7">
            <a:extLst>
              <a:ext uri="{FF2B5EF4-FFF2-40B4-BE49-F238E27FC236}">
                <a16:creationId xmlns:a16="http://schemas.microsoft.com/office/drawing/2014/main" id="{6A4EE5A7-AC03-3D40-9EE8-CDC327E172B8}"/>
              </a:ext>
            </a:extLst>
          </p:cNvPr>
          <p:cNvSpPr>
            <a:spLocks noGrp="1"/>
          </p:cNvSpPr>
          <p:nvPr>
            <p:ph type="body" sz="quarter" idx="18" hasCustomPrompt="1"/>
          </p:nvPr>
        </p:nvSpPr>
        <p:spPr>
          <a:xfrm>
            <a:off x="3862388" y="1617954"/>
            <a:ext cx="5972175" cy="1001713"/>
          </a:xfrm>
        </p:spPr>
        <p:txBody>
          <a:bodyPr anchor="ctr"/>
          <a:lstStyle>
            <a:lvl1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1pPr>
            <a:lvl2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2pPr>
            <a:lvl3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3pPr>
            <a:lvl4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4pPr>
            <a:lvl5pPr algn="l" defTabSz="609585" rtl="0" fontAlgn="auto">
              <a:lnSpc>
                <a:spcPct val="114000"/>
              </a:lnSpc>
              <a:spcBef>
                <a:spcPct val="0"/>
              </a:spcBef>
              <a:spcAft>
                <a:spcPts val="0"/>
              </a:spcAft>
              <a:defRPr lang="en-US" sz="1400" kern="1200" dirty="0">
                <a:solidFill>
                  <a:schemeClr val="tx1"/>
                </a:solidFill>
                <a:latin typeface="Arial" panose="020B0604020202020204" pitchFamily="34" charset="0"/>
                <a:ea typeface="ＭＳ Ｐゴシック" charset="0"/>
                <a:cs typeface="Arial" panose="020B0604020202020204" pitchFamily="34" charset="0"/>
              </a:defRPr>
            </a:lvl5pPr>
          </a:lstStyle>
          <a:p>
            <a:pPr lvl="0"/>
            <a:r>
              <a:rPr lang="en-US" dirty="0"/>
              <a:t>Text goes here</a:t>
            </a:r>
          </a:p>
        </p:txBody>
      </p:sp>
      <p:sp>
        <p:nvSpPr>
          <p:cNvPr id="53" name="Text Placeholder 7">
            <a:extLst>
              <a:ext uri="{FF2B5EF4-FFF2-40B4-BE49-F238E27FC236}">
                <a16:creationId xmlns:a16="http://schemas.microsoft.com/office/drawing/2014/main" id="{6871592E-73AF-AF42-99AE-B617891F53EC}"/>
              </a:ext>
            </a:extLst>
          </p:cNvPr>
          <p:cNvSpPr>
            <a:spLocks noGrp="1"/>
          </p:cNvSpPr>
          <p:nvPr>
            <p:ph type="body" sz="quarter" idx="19" hasCustomPrompt="1"/>
          </p:nvPr>
        </p:nvSpPr>
        <p:spPr>
          <a:xfrm>
            <a:off x="3862388" y="2853568"/>
            <a:ext cx="5972175" cy="1001713"/>
          </a:xfrm>
        </p:spPr>
        <p:txBody>
          <a:bodyPr anchor="ctr"/>
          <a:lstStyle>
            <a:lvl1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1pPr>
            <a:lvl2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2pPr>
            <a:lvl3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3pPr>
            <a:lvl4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4pPr>
            <a:lvl5pPr algn="l" defTabSz="609585" rtl="0" fontAlgn="auto">
              <a:lnSpc>
                <a:spcPct val="114000"/>
              </a:lnSpc>
              <a:spcBef>
                <a:spcPct val="0"/>
              </a:spcBef>
              <a:spcAft>
                <a:spcPts val="0"/>
              </a:spcAft>
              <a:defRPr lang="en-US" sz="1400" kern="1200" dirty="0">
                <a:solidFill>
                  <a:schemeClr val="tx1"/>
                </a:solidFill>
                <a:latin typeface="Arial" panose="020B0604020202020204" pitchFamily="34" charset="0"/>
                <a:ea typeface="ＭＳ Ｐゴシック" charset="0"/>
                <a:cs typeface="Arial" panose="020B0604020202020204" pitchFamily="34" charset="0"/>
              </a:defRPr>
            </a:lvl5pPr>
          </a:lstStyle>
          <a:p>
            <a:pPr lvl="0"/>
            <a:r>
              <a:rPr lang="en-US" dirty="0"/>
              <a:t>Text goes here</a:t>
            </a:r>
          </a:p>
        </p:txBody>
      </p:sp>
      <p:sp>
        <p:nvSpPr>
          <p:cNvPr id="54" name="Text Placeholder 7">
            <a:extLst>
              <a:ext uri="{FF2B5EF4-FFF2-40B4-BE49-F238E27FC236}">
                <a16:creationId xmlns:a16="http://schemas.microsoft.com/office/drawing/2014/main" id="{4FF16431-9E78-E44C-B213-009E7C8D82ED}"/>
              </a:ext>
            </a:extLst>
          </p:cNvPr>
          <p:cNvSpPr>
            <a:spLocks noGrp="1"/>
          </p:cNvSpPr>
          <p:nvPr>
            <p:ph type="body" sz="quarter" idx="20" hasCustomPrompt="1"/>
          </p:nvPr>
        </p:nvSpPr>
        <p:spPr>
          <a:xfrm>
            <a:off x="3862388" y="4042991"/>
            <a:ext cx="5972175" cy="1001713"/>
          </a:xfrm>
        </p:spPr>
        <p:txBody>
          <a:bodyPr anchor="ctr"/>
          <a:lstStyle>
            <a:lvl1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1pPr>
            <a:lvl2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2pPr>
            <a:lvl3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3pPr>
            <a:lvl4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4pPr>
            <a:lvl5pPr algn="l" defTabSz="609585" rtl="0" fontAlgn="auto">
              <a:lnSpc>
                <a:spcPct val="114000"/>
              </a:lnSpc>
              <a:spcBef>
                <a:spcPct val="0"/>
              </a:spcBef>
              <a:spcAft>
                <a:spcPts val="0"/>
              </a:spcAft>
              <a:defRPr lang="en-US" sz="1400" kern="1200" dirty="0">
                <a:solidFill>
                  <a:schemeClr val="tx1"/>
                </a:solidFill>
                <a:latin typeface="Arial" panose="020B0604020202020204" pitchFamily="34" charset="0"/>
                <a:ea typeface="ＭＳ Ｐゴシック" charset="0"/>
                <a:cs typeface="Arial" panose="020B0604020202020204" pitchFamily="34" charset="0"/>
              </a:defRPr>
            </a:lvl5pPr>
          </a:lstStyle>
          <a:p>
            <a:pPr lvl="0"/>
            <a:r>
              <a:rPr lang="en-US" dirty="0"/>
              <a:t>Text goes here</a:t>
            </a:r>
          </a:p>
        </p:txBody>
      </p:sp>
      <p:sp>
        <p:nvSpPr>
          <p:cNvPr id="55" name="Text Placeholder 5">
            <a:extLst>
              <a:ext uri="{FF2B5EF4-FFF2-40B4-BE49-F238E27FC236}">
                <a16:creationId xmlns:a16="http://schemas.microsoft.com/office/drawing/2014/main" id="{521EC6AB-65F6-9449-B919-524222BEE39C}"/>
              </a:ext>
            </a:extLst>
          </p:cNvPr>
          <p:cNvSpPr>
            <a:spLocks noGrp="1"/>
          </p:cNvSpPr>
          <p:nvPr>
            <p:ph type="body" sz="quarter" idx="21" hasCustomPrompt="1"/>
          </p:nvPr>
        </p:nvSpPr>
        <p:spPr>
          <a:xfrm>
            <a:off x="2613025" y="5255212"/>
            <a:ext cx="1001713" cy="1001712"/>
          </a:xfrm>
          <a:solidFill>
            <a:schemeClr val="bg2"/>
          </a:solidFill>
          <a:ln w="19050">
            <a:solidFill>
              <a:schemeClr val="bg1"/>
            </a:solidFill>
          </a:ln>
        </p:spPr>
        <p:txBody>
          <a:bodyPr anchor="ctr">
            <a:noAutofit/>
          </a:bodyPr>
          <a:lstStyle>
            <a:lvl1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1pPr>
            <a:lvl2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2pPr>
            <a:lvl3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3pPr>
            <a:lvl4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4pPr>
            <a:lvl5pPr algn="ctr" defTabSz="609585" rtl="0" fontAlgn="base">
              <a:spcBef>
                <a:spcPct val="0"/>
              </a:spcBef>
              <a:spcAft>
                <a:spcPct val="0"/>
              </a:spcAft>
              <a:defRPr lang="en-US" sz="3600" kern="1200" dirty="0">
                <a:solidFill>
                  <a:schemeClr val="bg1"/>
                </a:solidFill>
                <a:latin typeface="Oswald Light" pitchFamily="2" charset="77"/>
                <a:ea typeface="Oswald Light" charset="0"/>
                <a:cs typeface="Oswald Light" charset="0"/>
              </a:defRPr>
            </a:lvl5pPr>
          </a:lstStyle>
          <a:p>
            <a:pPr lvl="0"/>
            <a:r>
              <a:rPr lang="en-US" dirty="0"/>
              <a:t>XX</a:t>
            </a:r>
          </a:p>
        </p:txBody>
      </p:sp>
      <p:sp>
        <p:nvSpPr>
          <p:cNvPr id="57" name="Text Placeholder 7">
            <a:extLst>
              <a:ext uri="{FF2B5EF4-FFF2-40B4-BE49-F238E27FC236}">
                <a16:creationId xmlns:a16="http://schemas.microsoft.com/office/drawing/2014/main" id="{854D149C-754F-1244-8B49-738C2B08F7CC}"/>
              </a:ext>
            </a:extLst>
          </p:cNvPr>
          <p:cNvSpPr>
            <a:spLocks noGrp="1"/>
          </p:cNvSpPr>
          <p:nvPr>
            <p:ph type="body" sz="quarter" idx="22" hasCustomPrompt="1"/>
          </p:nvPr>
        </p:nvSpPr>
        <p:spPr>
          <a:xfrm>
            <a:off x="3862388" y="5255211"/>
            <a:ext cx="5972175" cy="1001713"/>
          </a:xfrm>
        </p:spPr>
        <p:txBody>
          <a:bodyPr anchor="ctr"/>
          <a:lstStyle>
            <a:lvl1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1pPr>
            <a:lvl2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2pPr>
            <a:lvl3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3pPr>
            <a:lvl4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4pPr>
            <a:lvl5pPr algn="l" defTabSz="609585" rtl="0" fontAlgn="auto">
              <a:lnSpc>
                <a:spcPct val="114000"/>
              </a:lnSpc>
              <a:spcBef>
                <a:spcPct val="0"/>
              </a:spcBef>
              <a:spcAft>
                <a:spcPts val="0"/>
              </a:spcAft>
              <a:defRPr lang="en-US" sz="1400" kern="1200" dirty="0">
                <a:solidFill>
                  <a:schemeClr val="tx1"/>
                </a:solidFill>
                <a:latin typeface="Arial" panose="020B0604020202020204" pitchFamily="34" charset="0"/>
                <a:ea typeface="ＭＳ Ｐゴシック" charset="0"/>
                <a:cs typeface="Arial" panose="020B0604020202020204" pitchFamily="34" charset="0"/>
              </a:defRPr>
            </a:lvl5pPr>
          </a:lstStyle>
          <a:p>
            <a:pPr lvl="0"/>
            <a:r>
              <a:rPr lang="en-US" dirty="0"/>
              <a:t>Text goes here</a:t>
            </a:r>
          </a:p>
        </p:txBody>
      </p:sp>
    </p:spTree>
    <p:extLst>
      <p:ext uri="{BB962C8B-B14F-4D97-AF65-F5344CB8AC3E}">
        <p14:creationId xmlns:p14="http://schemas.microsoft.com/office/powerpoint/2010/main" val="7689467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8" name="Picture Placeholder 34">
            <a:extLst>
              <a:ext uri="{FF2B5EF4-FFF2-40B4-BE49-F238E27FC236}">
                <a16:creationId xmlns:a16="http://schemas.microsoft.com/office/drawing/2014/main" id="{967B348E-547D-A542-810D-E6E0AC186F80}"/>
              </a:ext>
            </a:extLst>
          </p:cNvPr>
          <p:cNvSpPr>
            <a:spLocks noGrp="1"/>
          </p:cNvSpPr>
          <p:nvPr>
            <p:ph type="pic" sz="quarter" idx="17" hasCustomPrompt="1"/>
          </p:nvPr>
        </p:nvSpPr>
        <p:spPr>
          <a:xfrm>
            <a:off x="-4181" y="3"/>
            <a:ext cx="12196181" cy="6857998"/>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3" name="Rectangle 2">
            <a:extLst>
              <a:ext uri="{FF2B5EF4-FFF2-40B4-BE49-F238E27FC236}">
                <a16:creationId xmlns:a16="http://schemas.microsoft.com/office/drawing/2014/main" id="{108E300B-A62A-2A47-97ED-B5B97E10C24E}"/>
              </a:ext>
            </a:extLst>
          </p:cNvPr>
          <p:cNvSpPr/>
          <p:nvPr userDrawn="1"/>
        </p:nvSpPr>
        <p:spPr>
          <a:xfrm>
            <a:off x="3294001" y="0"/>
            <a:ext cx="559981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a typeface="Oswald Light" charset="0"/>
              <a:cs typeface="Oswald Light" charset="0"/>
            </a:endParaRPr>
          </a:p>
        </p:txBody>
      </p:sp>
      <p:sp>
        <p:nvSpPr>
          <p:cNvPr id="11" name="Freeform 10"/>
          <p:cNvSpPr>
            <a:spLocks noChangeArrowheads="1"/>
          </p:cNvSpPr>
          <p:nvPr userDrawn="1"/>
        </p:nvSpPr>
        <p:spPr bwMode="auto">
          <a:xfrm>
            <a:off x="5817460" y="1605137"/>
            <a:ext cx="552899" cy="457736"/>
          </a:xfrm>
          <a:custGeom>
            <a:avLst/>
            <a:gdLst>
              <a:gd name="T0" fmla="*/ 75 w 25365"/>
              <a:gd name="T1" fmla="*/ 12869 h 21000"/>
              <a:gd name="T2" fmla="*/ 75 w 25365"/>
              <a:gd name="T3" fmla="*/ 12869 h 21000"/>
              <a:gd name="T4" fmla="*/ 2184 w 25365"/>
              <a:gd name="T5" fmla="*/ 3161 h 21000"/>
              <a:gd name="T6" fmla="*/ 8882 w 25365"/>
              <a:gd name="T7" fmla="*/ 0 h 21000"/>
              <a:gd name="T8" fmla="*/ 9859 w 25365"/>
              <a:gd name="T9" fmla="*/ 3613 h 21000"/>
              <a:gd name="T10" fmla="*/ 6359 w 25365"/>
              <a:gd name="T11" fmla="*/ 5455 h 21000"/>
              <a:gd name="T12" fmla="*/ 5419 w 25365"/>
              <a:gd name="T13" fmla="*/ 10762 h 21000"/>
              <a:gd name="T14" fmla="*/ 10388 w 25365"/>
              <a:gd name="T15" fmla="*/ 10762 h 21000"/>
              <a:gd name="T16" fmla="*/ 10388 w 25365"/>
              <a:gd name="T17" fmla="*/ 20999 h 21000"/>
              <a:gd name="T18" fmla="*/ 0 w 25365"/>
              <a:gd name="T19" fmla="*/ 20999 h 21000"/>
              <a:gd name="T20" fmla="*/ 75 w 25365"/>
              <a:gd name="T21" fmla="*/ 12869 h 21000"/>
              <a:gd name="T22" fmla="*/ 15053 w 25365"/>
              <a:gd name="T23" fmla="*/ 12869 h 21000"/>
              <a:gd name="T24" fmla="*/ 15053 w 25365"/>
              <a:gd name="T25" fmla="*/ 12869 h 21000"/>
              <a:gd name="T26" fmla="*/ 17160 w 25365"/>
              <a:gd name="T27" fmla="*/ 3161 h 21000"/>
              <a:gd name="T28" fmla="*/ 23858 w 25365"/>
              <a:gd name="T29" fmla="*/ 0 h 21000"/>
              <a:gd name="T30" fmla="*/ 24837 w 25365"/>
              <a:gd name="T31" fmla="*/ 3613 h 21000"/>
              <a:gd name="T32" fmla="*/ 21338 w 25365"/>
              <a:gd name="T33" fmla="*/ 5455 h 21000"/>
              <a:gd name="T34" fmla="*/ 20397 w 25365"/>
              <a:gd name="T35" fmla="*/ 10762 h 21000"/>
              <a:gd name="T36" fmla="*/ 25364 w 25365"/>
              <a:gd name="T37" fmla="*/ 10762 h 21000"/>
              <a:gd name="T38" fmla="*/ 25364 w 25365"/>
              <a:gd name="T39" fmla="*/ 20999 h 21000"/>
              <a:gd name="T40" fmla="*/ 14978 w 25365"/>
              <a:gd name="T41" fmla="*/ 20999 h 21000"/>
              <a:gd name="T42" fmla="*/ 15053 w 25365"/>
              <a:gd name="T43" fmla="*/ 12869 h 2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365" h="21000">
                <a:moveTo>
                  <a:pt x="75" y="12869"/>
                </a:moveTo>
                <a:lnTo>
                  <a:pt x="75" y="12869"/>
                </a:lnTo>
                <a:cubicBezTo>
                  <a:pt x="175" y="8456"/>
                  <a:pt x="877" y="5219"/>
                  <a:pt x="2184" y="3161"/>
                </a:cubicBezTo>
                <a:cubicBezTo>
                  <a:pt x="3487" y="1103"/>
                  <a:pt x="5720" y="49"/>
                  <a:pt x="8882" y="0"/>
                </a:cubicBezTo>
                <a:cubicBezTo>
                  <a:pt x="9859" y="3613"/>
                  <a:pt x="9859" y="3613"/>
                  <a:pt x="9859" y="3613"/>
                </a:cubicBezTo>
                <a:cubicBezTo>
                  <a:pt x="8153" y="3662"/>
                  <a:pt x="6987" y="4278"/>
                  <a:pt x="6359" y="5455"/>
                </a:cubicBezTo>
                <a:cubicBezTo>
                  <a:pt x="5732" y="6635"/>
                  <a:pt x="5419" y="8405"/>
                  <a:pt x="5419" y="10762"/>
                </a:cubicBezTo>
                <a:cubicBezTo>
                  <a:pt x="10388" y="10762"/>
                  <a:pt x="10388" y="10762"/>
                  <a:pt x="10388" y="10762"/>
                </a:cubicBezTo>
                <a:cubicBezTo>
                  <a:pt x="10388" y="20999"/>
                  <a:pt x="10388" y="20999"/>
                  <a:pt x="10388" y="20999"/>
                </a:cubicBezTo>
                <a:cubicBezTo>
                  <a:pt x="0" y="20999"/>
                  <a:pt x="0" y="20999"/>
                  <a:pt x="0" y="20999"/>
                </a:cubicBezTo>
                <a:lnTo>
                  <a:pt x="75" y="12869"/>
                </a:lnTo>
                <a:close/>
                <a:moveTo>
                  <a:pt x="15053" y="12869"/>
                </a:moveTo>
                <a:lnTo>
                  <a:pt x="15053" y="12869"/>
                </a:lnTo>
                <a:cubicBezTo>
                  <a:pt x="15153" y="8456"/>
                  <a:pt x="15855" y="5219"/>
                  <a:pt x="17160" y="3161"/>
                </a:cubicBezTo>
                <a:cubicBezTo>
                  <a:pt x="18465" y="1103"/>
                  <a:pt x="20698" y="49"/>
                  <a:pt x="23858" y="0"/>
                </a:cubicBezTo>
                <a:cubicBezTo>
                  <a:pt x="24837" y="3613"/>
                  <a:pt x="24837" y="3613"/>
                  <a:pt x="24837" y="3613"/>
                </a:cubicBezTo>
                <a:cubicBezTo>
                  <a:pt x="23131" y="3662"/>
                  <a:pt x="21965" y="4278"/>
                  <a:pt x="21338" y="5455"/>
                </a:cubicBezTo>
                <a:cubicBezTo>
                  <a:pt x="20709" y="6635"/>
                  <a:pt x="20397" y="8405"/>
                  <a:pt x="20397" y="10762"/>
                </a:cubicBezTo>
                <a:cubicBezTo>
                  <a:pt x="25364" y="10762"/>
                  <a:pt x="25364" y="10762"/>
                  <a:pt x="25364" y="10762"/>
                </a:cubicBezTo>
                <a:cubicBezTo>
                  <a:pt x="25364" y="20999"/>
                  <a:pt x="25364" y="20999"/>
                  <a:pt x="25364" y="20999"/>
                </a:cubicBezTo>
                <a:cubicBezTo>
                  <a:pt x="14978" y="20999"/>
                  <a:pt x="14978" y="20999"/>
                  <a:pt x="14978" y="20999"/>
                </a:cubicBezTo>
                <a:lnTo>
                  <a:pt x="15053" y="12869"/>
                </a:lnTo>
                <a:close/>
              </a:path>
            </a:pathLst>
          </a:custGeom>
          <a:solidFill>
            <a:schemeClr val="tx1"/>
          </a:solidFill>
          <a:ln>
            <a:noFill/>
          </a:ln>
          <a:effectLst/>
        </p:spPr>
        <p:txBody>
          <a:bodyPr wrap="none" anchor="ctr"/>
          <a:lstStyle/>
          <a:p>
            <a:endParaRPr lang="en-GB" b="0" i="0" dirty="0">
              <a:latin typeface="Arial Narrow Regular" panose="020B0606020202030204" pitchFamily="34" charset="0"/>
            </a:endParaRPr>
          </a:p>
        </p:txBody>
      </p:sp>
      <p:sp>
        <p:nvSpPr>
          <p:cNvPr id="12" name="Text Placeholder 6"/>
          <p:cNvSpPr>
            <a:spLocks noGrp="1"/>
          </p:cNvSpPr>
          <p:nvPr>
            <p:ph type="body" sz="quarter" idx="14"/>
          </p:nvPr>
        </p:nvSpPr>
        <p:spPr>
          <a:xfrm>
            <a:off x="3646306" y="2279989"/>
            <a:ext cx="4895207" cy="3502899"/>
          </a:xfrm>
        </p:spPr>
        <p:txBody>
          <a:bodyPr>
            <a:normAutofit/>
          </a:bodyPr>
          <a:lstStyle>
            <a:lvl1pPr algn="ctr">
              <a:defRPr sz="3200" b="0" i="0">
                <a:latin typeface="Oswald Light" pitchFamily="2" charset="77"/>
              </a:defRPr>
            </a:lvl1pPr>
            <a:lvl2pPr algn="ctr">
              <a:defRPr b="0" i="0">
                <a:latin typeface="Oswald Light" pitchFamily="2" charset="77"/>
              </a:defRPr>
            </a:lvl2pPr>
            <a:lvl3pPr algn="ctr">
              <a:defRPr b="0" i="0">
                <a:latin typeface="Oswald Light" pitchFamily="2" charset="77"/>
              </a:defRPr>
            </a:lvl3pPr>
            <a:lvl4pPr algn="ctr">
              <a:defRPr b="0" i="0">
                <a:latin typeface="Oswald Light" pitchFamily="2" charset="77"/>
              </a:defRPr>
            </a:lvl4pPr>
            <a:lvl5pPr algn="ctr">
              <a:defRPr b="0" i="0">
                <a:latin typeface="Oswald Light" pitchFamily="2" charset="77"/>
              </a:defRPr>
            </a:lvl5pPr>
          </a:lstStyle>
          <a:p>
            <a:pPr lvl="0"/>
            <a:r>
              <a:rPr lang="en-US"/>
              <a:t>Click to edit Master text styles</a:t>
            </a:r>
          </a:p>
        </p:txBody>
      </p:sp>
      <p:sp>
        <p:nvSpPr>
          <p:cNvPr id="13" name="Text Placeholder 6">
            <a:extLst>
              <a:ext uri="{FF2B5EF4-FFF2-40B4-BE49-F238E27FC236}">
                <a16:creationId xmlns:a16="http://schemas.microsoft.com/office/drawing/2014/main" id="{322544E0-3AFF-AF4A-8E16-C921A3BE1C8C}"/>
              </a:ext>
            </a:extLst>
          </p:cNvPr>
          <p:cNvSpPr>
            <a:spLocks noGrp="1"/>
          </p:cNvSpPr>
          <p:nvPr>
            <p:ph type="body" sz="quarter" idx="16" hasCustomPrompt="1"/>
          </p:nvPr>
        </p:nvSpPr>
        <p:spPr>
          <a:xfrm>
            <a:off x="3646306" y="5782890"/>
            <a:ext cx="4895207" cy="425005"/>
          </a:xfrm>
        </p:spPr>
        <p:txBody>
          <a:bodyPr>
            <a:normAutofit/>
          </a:bodyPr>
          <a:lstStyle>
            <a:lvl1pPr algn="ctr">
              <a:defRPr sz="1333"/>
            </a:lvl1pPr>
            <a:lvl2pPr algn="ctr">
              <a:defRPr/>
            </a:lvl2pPr>
            <a:lvl3pPr algn="ctr">
              <a:defRPr/>
            </a:lvl3pPr>
            <a:lvl4pPr algn="ctr">
              <a:defRPr/>
            </a:lvl4pPr>
            <a:lvl5pPr algn="ctr">
              <a:defRPr/>
            </a:lvl5pPr>
          </a:lstStyle>
          <a:p>
            <a:pPr lvl="0"/>
            <a:r>
              <a:rPr lang="en-US" dirty="0"/>
              <a:t>First name surname</a:t>
            </a:r>
            <a:endParaRPr lang="en-GB" dirty="0"/>
          </a:p>
        </p:txBody>
      </p:sp>
      <p:sp>
        <p:nvSpPr>
          <p:cNvPr id="39" name="Slide Number Placeholder 1">
            <a:extLst>
              <a:ext uri="{FF2B5EF4-FFF2-40B4-BE49-F238E27FC236}">
                <a16:creationId xmlns:a16="http://schemas.microsoft.com/office/drawing/2014/main" id="{95020CC9-131E-F24D-9F03-5D07C5C524E2}"/>
              </a:ext>
            </a:extLst>
          </p:cNvPr>
          <p:cNvSpPr>
            <a:spLocks noGrp="1"/>
          </p:cNvSpPr>
          <p:nvPr>
            <p:ph type="sldNum" sz="quarter" idx="4"/>
          </p:nvPr>
        </p:nvSpPr>
        <p:spPr>
          <a:xfrm>
            <a:off x="11468616" y="6556236"/>
            <a:ext cx="388544" cy="208181"/>
          </a:xfrm>
          <a:prstGeom prst="rect">
            <a:avLst/>
          </a:prstGeom>
          <a:noFill/>
        </p:spPr>
        <p:txBody>
          <a:bodyPr vert="horz" lIns="0" tIns="45720" rIns="0" bIns="45720" rtlCol="0" anchor="ctr"/>
          <a:lstStyle>
            <a:lvl1pPr algn="ctr">
              <a:defRPr sz="933" b="0" i="0">
                <a:solidFill>
                  <a:schemeClr val="bg1"/>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58" name="Footer Placeholder 1">
            <a:extLst>
              <a:ext uri="{FF2B5EF4-FFF2-40B4-BE49-F238E27FC236}">
                <a16:creationId xmlns:a16="http://schemas.microsoft.com/office/drawing/2014/main" id="{002D4892-E8BB-2B43-AC58-5B42F6B08DC2}"/>
              </a:ext>
            </a:extLst>
          </p:cNvPr>
          <p:cNvSpPr>
            <a:spLocks noGrp="1"/>
          </p:cNvSpPr>
          <p:nvPr>
            <p:ph type="ftr" sz="quarter" idx="18"/>
          </p:nvPr>
        </p:nvSpPr>
        <p:spPr>
          <a:xfrm>
            <a:off x="334840" y="6537084"/>
            <a:ext cx="4025949" cy="227333"/>
          </a:xfrm>
        </p:spPr>
        <p:txBody>
          <a:bodyPr/>
          <a:lstStyle/>
          <a:p>
            <a:endParaRPr lang="en-GB"/>
          </a:p>
        </p:txBody>
      </p:sp>
      <p:pic>
        <p:nvPicPr>
          <p:cNvPr id="27" name="Picture 26" descr="Logo&#10;&#10;Description automatically generated">
            <a:extLst>
              <a:ext uri="{FF2B5EF4-FFF2-40B4-BE49-F238E27FC236}">
                <a16:creationId xmlns:a16="http://schemas.microsoft.com/office/drawing/2014/main" id="{14E9EFEE-5CFE-2C47-B8E1-47C3380EB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62284" y="6557619"/>
            <a:ext cx="467432" cy="201524"/>
          </a:xfrm>
          <a:prstGeom prst="rect">
            <a:avLst/>
          </a:prstGeom>
        </p:spPr>
      </p:pic>
    </p:spTree>
    <p:extLst>
      <p:ext uri="{BB962C8B-B14F-4D97-AF65-F5344CB8AC3E}">
        <p14:creationId xmlns:p14="http://schemas.microsoft.com/office/powerpoint/2010/main" val="16930208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g point">
    <p:spTree>
      <p:nvGrpSpPr>
        <p:cNvPr id="1" name=""/>
        <p:cNvGrpSpPr/>
        <p:nvPr/>
      </p:nvGrpSpPr>
      <p:grpSpPr>
        <a:xfrm>
          <a:off x="0" y="0"/>
          <a:ext cx="0" cy="0"/>
          <a:chOff x="0" y="0"/>
          <a:chExt cx="0" cy="0"/>
        </a:xfrm>
      </p:grpSpPr>
      <p:cxnSp>
        <p:nvCxnSpPr>
          <p:cNvPr id="5" name="Straight Connector 4"/>
          <p:cNvCxnSpPr/>
          <p:nvPr userDrawn="1"/>
        </p:nvCxnSpPr>
        <p:spPr>
          <a:xfrm>
            <a:off x="196850" y="2537728"/>
            <a:ext cx="29132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9087400" y="2537728"/>
            <a:ext cx="29132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 Placeholder 6"/>
          <p:cNvSpPr>
            <a:spLocks noGrp="1"/>
          </p:cNvSpPr>
          <p:nvPr>
            <p:ph type="body" sz="quarter" idx="14"/>
          </p:nvPr>
        </p:nvSpPr>
        <p:spPr>
          <a:xfrm>
            <a:off x="3128706" y="3010916"/>
            <a:ext cx="5934591" cy="2636195"/>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p:txBody>
      </p:sp>
      <p:sp>
        <p:nvSpPr>
          <p:cNvPr id="3" name="Title 2"/>
          <p:cNvSpPr>
            <a:spLocks noGrp="1"/>
          </p:cNvSpPr>
          <p:nvPr>
            <p:ph type="title"/>
          </p:nvPr>
        </p:nvSpPr>
        <p:spPr>
          <a:xfrm>
            <a:off x="3125015" y="2240047"/>
            <a:ext cx="5936436" cy="681565"/>
          </a:xfrm>
        </p:spPr>
        <p:txBody>
          <a:bodyPr/>
          <a:lstStyle>
            <a:lvl1pPr algn="ctr">
              <a:defRPr/>
            </a:lvl1pPr>
          </a:lstStyle>
          <a:p>
            <a:r>
              <a:rPr lang="en-US"/>
              <a:t>Click to edit Master title style</a:t>
            </a:r>
            <a:endParaRPr lang="en-GB" dirty="0"/>
          </a:p>
        </p:txBody>
      </p:sp>
      <p:sp>
        <p:nvSpPr>
          <p:cNvPr id="53" name="Slide Number Placeholder 1">
            <a:extLst>
              <a:ext uri="{FF2B5EF4-FFF2-40B4-BE49-F238E27FC236}">
                <a16:creationId xmlns:a16="http://schemas.microsoft.com/office/drawing/2014/main" id="{927C7F7A-0FAB-6B4B-B648-3DF9C15097C1}"/>
              </a:ext>
            </a:extLst>
          </p:cNvPr>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54" name="Footer Placeholder 1">
            <a:extLst>
              <a:ext uri="{FF2B5EF4-FFF2-40B4-BE49-F238E27FC236}">
                <a16:creationId xmlns:a16="http://schemas.microsoft.com/office/drawing/2014/main" id="{1BAFEA5A-7B21-DB41-BFC9-9F26157B6B23}"/>
              </a:ext>
            </a:extLst>
          </p:cNvPr>
          <p:cNvSpPr>
            <a:spLocks noGrp="1"/>
          </p:cNvSpPr>
          <p:nvPr>
            <p:ph type="ftr" sz="quarter" idx="15"/>
          </p:nvPr>
        </p:nvSpPr>
        <p:spPr>
          <a:xfrm>
            <a:off x="334840" y="6537084"/>
            <a:ext cx="4025949" cy="227333"/>
          </a:xfrm>
        </p:spPr>
        <p:txBody>
          <a:bodyPr/>
          <a:lstStyle/>
          <a:p>
            <a:endParaRPr lang="en-GB"/>
          </a:p>
        </p:txBody>
      </p:sp>
    </p:spTree>
    <p:extLst>
      <p:ext uri="{BB962C8B-B14F-4D97-AF65-F5344CB8AC3E}">
        <p14:creationId xmlns:p14="http://schemas.microsoft.com/office/powerpoint/2010/main" val="42287877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52" name="Picture Placeholder 33"/>
          <p:cNvSpPr>
            <a:spLocks noGrp="1"/>
          </p:cNvSpPr>
          <p:nvPr>
            <p:ph type="pic" sz="quarter" idx="29" hasCustomPrompt="1"/>
          </p:nvPr>
        </p:nvSpPr>
        <p:spPr>
          <a:xfrm>
            <a:off x="2650939" y="4004931"/>
            <a:ext cx="1248000" cy="1248000"/>
          </a:xfrm>
          <a:prstGeom prst="ellipse">
            <a:avLst/>
          </a:prstGeom>
          <a:solidFill>
            <a:schemeClr val="accent6"/>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55" name="Picture Placeholder 33"/>
          <p:cNvSpPr>
            <a:spLocks noGrp="1"/>
          </p:cNvSpPr>
          <p:nvPr>
            <p:ph type="pic" sz="quarter" idx="32" hasCustomPrompt="1"/>
          </p:nvPr>
        </p:nvSpPr>
        <p:spPr>
          <a:xfrm>
            <a:off x="5490815" y="4004931"/>
            <a:ext cx="1248000" cy="1248000"/>
          </a:xfrm>
          <a:prstGeom prst="ellipse">
            <a:avLst/>
          </a:prstGeom>
          <a:solidFill>
            <a:schemeClr val="accent6"/>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58" name="Picture Placeholder 33"/>
          <p:cNvSpPr>
            <a:spLocks noGrp="1"/>
          </p:cNvSpPr>
          <p:nvPr>
            <p:ph type="pic" sz="quarter" idx="35" hasCustomPrompt="1"/>
          </p:nvPr>
        </p:nvSpPr>
        <p:spPr>
          <a:xfrm>
            <a:off x="8289969" y="4004931"/>
            <a:ext cx="1248000" cy="1248000"/>
          </a:xfrm>
          <a:prstGeom prst="ellipse">
            <a:avLst/>
          </a:prstGeom>
          <a:solidFill>
            <a:schemeClr val="accent6"/>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59" name="Text Placeholder 29"/>
          <p:cNvSpPr>
            <a:spLocks noGrp="1"/>
          </p:cNvSpPr>
          <p:nvPr>
            <p:ph type="body" sz="quarter" idx="36" hasCustomPrompt="1"/>
          </p:nvPr>
        </p:nvSpPr>
        <p:spPr>
          <a:xfrm>
            <a:off x="8122073" y="5398292"/>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60" name="Text Placeholder 29"/>
          <p:cNvSpPr>
            <a:spLocks noGrp="1"/>
          </p:cNvSpPr>
          <p:nvPr>
            <p:ph type="body" sz="quarter" idx="37" hasCustomPrompt="1"/>
          </p:nvPr>
        </p:nvSpPr>
        <p:spPr>
          <a:xfrm>
            <a:off x="8122073" y="5665164"/>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49" name="Picture Placeholder 33"/>
          <p:cNvSpPr>
            <a:spLocks noGrp="1"/>
          </p:cNvSpPr>
          <p:nvPr>
            <p:ph type="pic" sz="quarter" idx="26" hasCustomPrompt="1"/>
          </p:nvPr>
        </p:nvSpPr>
        <p:spPr>
          <a:xfrm>
            <a:off x="6899496" y="2015085"/>
            <a:ext cx="1248000" cy="1257600"/>
          </a:xfrm>
          <a:prstGeom prst="ellipse">
            <a:avLst/>
          </a:prstGeom>
          <a:solidFill>
            <a:schemeClr val="accent6"/>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50" name="Text Placeholder 29"/>
          <p:cNvSpPr>
            <a:spLocks noGrp="1"/>
          </p:cNvSpPr>
          <p:nvPr>
            <p:ph type="body" sz="quarter" idx="27" hasCustomPrompt="1"/>
          </p:nvPr>
        </p:nvSpPr>
        <p:spPr>
          <a:xfrm>
            <a:off x="6731600" y="3408447"/>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51" name="Text Placeholder 29"/>
          <p:cNvSpPr>
            <a:spLocks noGrp="1"/>
          </p:cNvSpPr>
          <p:nvPr>
            <p:ph type="body" sz="quarter" idx="28" hasCustomPrompt="1"/>
          </p:nvPr>
        </p:nvSpPr>
        <p:spPr>
          <a:xfrm>
            <a:off x="6731600" y="3675319"/>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32" name="Picture Placeholder 33"/>
          <p:cNvSpPr>
            <a:spLocks noGrp="1"/>
          </p:cNvSpPr>
          <p:nvPr>
            <p:ph type="pic" sz="quarter" idx="12" hasCustomPrompt="1"/>
          </p:nvPr>
        </p:nvSpPr>
        <p:spPr>
          <a:xfrm>
            <a:off x="1237507" y="2015085"/>
            <a:ext cx="1248000" cy="1248000"/>
          </a:xfrm>
          <a:prstGeom prst="ellipse">
            <a:avLst/>
          </a:prstGeom>
          <a:solidFill>
            <a:schemeClr val="accent6"/>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34" name="Text Placeholder 29"/>
          <p:cNvSpPr>
            <a:spLocks noGrp="1"/>
          </p:cNvSpPr>
          <p:nvPr>
            <p:ph type="body" sz="quarter" idx="18" hasCustomPrompt="1"/>
          </p:nvPr>
        </p:nvSpPr>
        <p:spPr>
          <a:xfrm>
            <a:off x="1069611" y="3408447"/>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35" name="Text Placeholder 29"/>
          <p:cNvSpPr>
            <a:spLocks noGrp="1"/>
          </p:cNvSpPr>
          <p:nvPr>
            <p:ph type="body" sz="quarter" idx="19" hasCustomPrompt="1"/>
          </p:nvPr>
        </p:nvSpPr>
        <p:spPr>
          <a:xfrm>
            <a:off x="1069611" y="3675319"/>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36" name="Picture Placeholder 33"/>
          <p:cNvSpPr>
            <a:spLocks noGrp="1"/>
          </p:cNvSpPr>
          <p:nvPr>
            <p:ph type="pic" sz="quarter" idx="20" hasCustomPrompt="1"/>
          </p:nvPr>
        </p:nvSpPr>
        <p:spPr>
          <a:xfrm>
            <a:off x="4062459" y="2015085"/>
            <a:ext cx="1248000" cy="1257600"/>
          </a:xfrm>
          <a:prstGeom prst="ellipse">
            <a:avLst/>
          </a:prstGeom>
          <a:solidFill>
            <a:schemeClr val="accent6"/>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37" name="Text Placeholder 29"/>
          <p:cNvSpPr>
            <a:spLocks noGrp="1"/>
          </p:cNvSpPr>
          <p:nvPr>
            <p:ph type="body" sz="quarter" idx="21" hasCustomPrompt="1"/>
          </p:nvPr>
        </p:nvSpPr>
        <p:spPr>
          <a:xfrm>
            <a:off x="3894563" y="3408447"/>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38" name="Text Placeholder 29"/>
          <p:cNvSpPr>
            <a:spLocks noGrp="1"/>
          </p:cNvSpPr>
          <p:nvPr>
            <p:ph type="body" sz="quarter" idx="22" hasCustomPrompt="1"/>
          </p:nvPr>
        </p:nvSpPr>
        <p:spPr>
          <a:xfrm>
            <a:off x="3894563" y="3675319"/>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40" name="Picture Placeholder 33"/>
          <p:cNvSpPr>
            <a:spLocks noGrp="1"/>
          </p:cNvSpPr>
          <p:nvPr>
            <p:ph type="pic" sz="quarter" idx="23" hasCustomPrompt="1"/>
          </p:nvPr>
        </p:nvSpPr>
        <p:spPr>
          <a:xfrm>
            <a:off x="9700141" y="2015085"/>
            <a:ext cx="1248000" cy="1257600"/>
          </a:xfrm>
          <a:prstGeom prst="ellipse">
            <a:avLst/>
          </a:prstGeom>
          <a:solidFill>
            <a:schemeClr val="accent6"/>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41" name="Text Placeholder 29"/>
          <p:cNvSpPr>
            <a:spLocks noGrp="1"/>
          </p:cNvSpPr>
          <p:nvPr>
            <p:ph type="body" sz="quarter" idx="24" hasCustomPrompt="1"/>
          </p:nvPr>
        </p:nvSpPr>
        <p:spPr>
          <a:xfrm>
            <a:off x="9532245" y="3408447"/>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42" name="Text Placeholder 29"/>
          <p:cNvSpPr>
            <a:spLocks noGrp="1"/>
          </p:cNvSpPr>
          <p:nvPr>
            <p:ph type="body" sz="quarter" idx="25" hasCustomPrompt="1"/>
          </p:nvPr>
        </p:nvSpPr>
        <p:spPr>
          <a:xfrm>
            <a:off x="9532245" y="3675319"/>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53" name="Text Placeholder 29"/>
          <p:cNvSpPr>
            <a:spLocks noGrp="1"/>
          </p:cNvSpPr>
          <p:nvPr>
            <p:ph type="body" sz="quarter" idx="30" hasCustomPrompt="1"/>
          </p:nvPr>
        </p:nvSpPr>
        <p:spPr>
          <a:xfrm>
            <a:off x="2483043" y="5398292"/>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54" name="Text Placeholder 29"/>
          <p:cNvSpPr>
            <a:spLocks noGrp="1"/>
          </p:cNvSpPr>
          <p:nvPr>
            <p:ph type="body" sz="quarter" idx="31" hasCustomPrompt="1"/>
          </p:nvPr>
        </p:nvSpPr>
        <p:spPr>
          <a:xfrm>
            <a:off x="2483043" y="5665164"/>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56" name="Text Placeholder 29"/>
          <p:cNvSpPr>
            <a:spLocks noGrp="1"/>
          </p:cNvSpPr>
          <p:nvPr>
            <p:ph type="body" sz="quarter" idx="33" hasCustomPrompt="1"/>
          </p:nvPr>
        </p:nvSpPr>
        <p:spPr>
          <a:xfrm>
            <a:off x="5322919" y="5398292"/>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57" name="Text Placeholder 29"/>
          <p:cNvSpPr>
            <a:spLocks noGrp="1"/>
          </p:cNvSpPr>
          <p:nvPr>
            <p:ph type="body" sz="quarter" idx="34" hasCustomPrompt="1"/>
          </p:nvPr>
        </p:nvSpPr>
        <p:spPr>
          <a:xfrm>
            <a:off x="5322919" y="5665164"/>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62" name="Slide Number Placeholder 1">
            <a:extLst>
              <a:ext uri="{FF2B5EF4-FFF2-40B4-BE49-F238E27FC236}">
                <a16:creationId xmlns:a16="http://schemas.microsoft.com/office/drawing/2014/main" id="{55CDC411-F957-C148-A7D3-700AFB26CCBC}"/>
              </a:ext>
            </a:extLst>
          </p:cNvPr>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63" name="Footer Placeholder 1">
            <a:extLst>
              <a:ext uri="{FF2B5EF4-FFF2-40B4-BE49-F238E27FC236}">
                <a16:creationId xmlns:a16="http://schemas.microsoft.com/office/drawing/2014/main" id="{D9944F91-93AC-9146-9498-E4B7CBAD27ED}"/>
              </a:ext>
            </a:extLst>
          </p:cNvPr>
          <p:cNvSpPr>
            <a:spLocks noGrp="1"/>
          </p:cNvSpPr>
          <p:nvPr>
            <p:ph type="ftr" sz="quarter" idx="14"/>
          </p:nvPr>
        </p:nvSpPr>
        <p:spPr>
          <a:xfrm>
            <a:off x="334840" y="6537084"/>
            <a:ext cx="4025949" cy="227333"/>
          </a:xfrm>
        </p:spPr>
        <p:txBody>
          <a:bodyPr/>
          <a:lstStyle/>
          <a:p>
            <a:endParaRPr lang="en-GB"/>
          </a:p>
        </p:txBody>
      </p:sp>
      <p:sp>
        <p:nvSpPr>
          <p:cNvPr id="44" name="Title 2">
            <a:extLst>
              <a:ext uri="{FF2B5EF4-FFF2-40B4-BE49-F238E27FC236}">
                <a16:creationId xmlns:a16="http://schemas.microsoft.com/office/drawing/2014/main" id="{A44DB753-41DB-9842-86D8-14B0E6135453}"/>
              </a:ext>
            </a:extLst>
          </p:cNvPr>
          <p:cNvSpPr>
            <a:spLocks noGrp="1"/>
          </p:cNvSpPr>
          <p:nvPr>
            <p:ph type="title" hasCustomPrompt="1"/>
          </p:nvPr>
        </p:nvSpPr>
        <p:spPr>
          <a:xfrm>
            <a:off x="334841" y="300381"/>
            <a:ext cx="11501793"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Tree>
    <p:extLst>
      <p:ext uri="{BB962C8B-B14F-4D97-AF65-F5344CB8AC3E}">
        <p14:creationId xmlns:p14="http://schemas.microsoft.com/office/powerpoint/2010/main" val="287510423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am slide 2">
    <p:spTree>
      <p:nvGrpSpPr>
        <p:cNvPr id="1" name=""/>
        <p:cNvGrpSpPr/>
        <p:nvPr/>
      </p:nvGrpSpPr>
      <p:grpSpPr>
        <a:xfrm>
          <a:off x="0" y="0"/>
          <a:ext cx="0" cy="0"/>
          <a:chOff x="0" y="0"/>
          <a:chExt cx="0" cy="0"/>
        </a:xfrm>
      </p:grpSpPr>
      <p:sp>
        <p:nvSpPr>
          <p:cNvPr id="34" name="Picture Placeholder 33"/>
          <p:cNvSpPr>
            <a:spLocks noGrp="1"/>
          </p:cNvSpPr>
          <p:nvPr>
            <p:ph type="pic" sz="quarter" idx="12" hasCustomPrompt="1"/>
          </p:nvPr>
        </p:nvSpPr>
        <p:spPr>
          <a:xfrm>
            <a:off x="1172684" y="2693543"/>
            <a:ext cx="1261760" cy="1259925"/>
          </a:xfrm>
          <a:prstGeom prst="ellipse">
            <a:avLst/>
          </a:prstGeom>
          <a:solidFill>
            <a:schemeClr val="bg1">
              <a:lumMod val="95000"/>
            </a:schemeClr>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35" name="Picture Placeholder 33"/>
          <p:cNvSpPr>
            <a:spLocks noGrp="1"/>
          </p:cNvSpPr>
          <p:nvPr>
            <p:ph type="pic" sz="quarter" idx="13" hasCustomPrompt="1"/>
          </p:nvPr>
        </p:nvSpPr>
        <p:spPr>
          <a:xfrm>
            <a:off x="2889088" y="2693543"/>
            <a:ext cx="1261760" cy="1259925"/>
          </a:xfrm>
          <a:prstGeom prst="ellipse">
            <a:avLst/>
          </a:prstGeom>
          <a:solidFill>
            <a:schemeClr val="bg1">
              <a:lumMod val="95000"/>
            </a:schemeClr>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36" name="Picture Placeholder 33"/>
          <p:cNvSpPr>
            <a:spLocks noGrp="1"/>
          </p:cNvSpPr>
          <p:nvPr>
            <p:ph type="pic" sz="quarter" idx="14" hasCustomPrompt="1"/>
          </p:nvPr>
        </p:nvSpPr>
        <p:spPr>
          <a:xfrm>
            <a:off x="4605492" y="2693543"/>
            <a:ext cx="1261760" cy="1259925"/>
          </a:xfrm>
          <a:prstGeom prst="ellipse">
            <a:avLst/>
          </a:prstGeom>
          <a:solidFill>
            <a:schemeClr val="bg1">
              <a:lumMod val="95000"/>
            </a:schemeClr>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37" name="Picture Placeholder 33"/>
          <p:cNvSpPr>
            <a:spLocks noGrp="1"/>
          </p:cNvSpPr>
          <p:nvPr>
            <p:ph type="pic" sz="quarter" idx="15" hasCustomPrompt="1"/>
          </p:nvPr>
        </p:nvSpPr>
        <p:spPr>
          <a:xfrm>
            <a:off x="6321896" y="2693543"/>
            <a:ext cx="1261760" cy="1259925"/>
          </a:xfrm>
          <a:prstGeom prst="ellipse">
            <a:avLst/>
          </a:prstGeom>
          <a:solidFill>
            <a:schemeClr val="bg1">
              <a:lumMod val="95000"/>
            </a:schemeClr>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38" name="Picture Placeholder 33"/>
          <p:cNvSpPr>
            <a:spLocks noGrp="1"/>
          </p:cNvSpPr>
          <p:nvPr>
            <p:ph type="pic" sz="quarter" idx="16" hasCustomPrompt="1"/>
          </p:nvPr>
        </p:nvSpPr>
        <p:spPr>
          <a:xfrm>
            <a:off x="8038300" y="2693543"/>
            <a:ext cx="1261760" cy="1259925"/>
          </a:xfrm>
          <a:prstGeom prst="ellipse">
            <a:avLst/>
          </a:prstGeom>
          <a:solidFill>
            <a:schemeClr val="bg1">
              <a:lumMod val="95000"/>
            </a:schemeClr>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39" name="Picture Placeholder 33"/>
          <p:cNvSpPr>
            <a:spLocks noGrp="1"/>
          </p:cNvSpPr>
          <p:nvPr>
            <p:ph type="pic" sz="quarter" idx="17" hasCustomPrompt="1"/>
          </p:nvPr>
        </p:nvSpPr>
        <p:spPr>
          <a:xfrm>
            <a:off x="9754701" y="2693543"/>
            <a:ext cx="1261760" cy="1259925"/>
          </a:xfrm>
          <a:prstGeom prst="ellipse">
            <a:avLst/>
          </a:prstGeom>
          <a:solidFill>
            <a:schemeClr val="bg1">
              <a:lumMod val="95000"/>
            </a:schemeClr>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41" name="Text Placeholder 29"/>
          <p:cNvSpPr>
            <a:spLocks noGrp="1"/>
          </p:cNvSpPr>
          <p:nvPr>
            <p:ph type="body" sz="quarter" idx="18" hasCustomPrompt="1"/>
          </p:nvPr>
        </p:nvSpPr>
        <p:spPr>
          <a:xfrm>
            <a:off x="1008955" y="4393620"/>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44" name="Text Placeholder 29"/>
          <p:cNvSpPr>
            <a:spLocks noGrp="1"/>
          </p:cNvSpPr>
          <p:nvPr>
            <p:ph type="body" sz="quarter" idx="19" hasCustomPrompt="1"/>
          </p:nvPr>
        </p:nvSpPr>
        <p:spPr>
          <a:xfrm>
            <a:off x="1008955" y="4660492"/>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45" name="Text Placeholder 29"/>
          <p:cNvSpPr>
            <a:spLocks noGrp="1"/>
          </p:cNvSpPr>
          <p:nvPr>
            <p:ph type="body" sz="quarter" idx="20" hasCustomPrompt="1"/>
          </p:nvPr>
        </p:nvSpPr>
        <p:spPr>
          <a:xfrm>
            <a:off x="2727015" y="4393620"/>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46" name="Text Placeholder 29"/>
          <p:cNvSpPr>
            <a:spLocks noGrp="1"/>
          </p:cNvSpPr>
          <p:nvPr>
            <p:ph type="body" sz="quarter" idx="21" hasCustomPrompt="1"/>
          </p:nvPr>
        </p:nvSpPr>
        <p:spPr>
          <a:xfrm>
            <a:off x="2727015" y="4660492"/>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47" name="Text Placeholder 29"/>
          <p:cNvSpPr>
            <a:spLocks noGrp="1"/>
          </p:cNvSpPr>
          <p:nvPr>
            <p:ph type="body" sz="quarter" idx="22" hasCustomPrompt="1"/>
          </p:nvPr>
        </p:nvSpPr>
        <p:spPr>
          <a:xfrm>
            <a:off x="4445075" y="4393620"/>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48" name="Text Placeholder 29"/>
          <p:cNvSpPr>
            <a:spLocks noGrp="1"/>
          </p:cNvSpPr>
          <p:nvPr>
            <p:ph type="body" sz="quarter" idx="23" hasCustomPrompt="1"/>
          </p:nvPr>
        </p:nvSpPr>
        <p:spPr>
          <a:xfrm>
            <a:off x="4445075" y="4660492"/>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49" name="Text Placeholder 29"/>
          <p:cNvSpPr>
            <a:spLocks noGrp="1"/>
          </p:cNvSpPr>
          <p:nvPr>
            <p:ph type="body" sz="quarter" idx="24" hasCustomPrompt="1"/>
          </p:nvPr>
        </p:nvSpPr>
        <p:spPr>
          <a:xfrm>
            <a:off x="6163135" y="4393620"/>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50" name="Text Placeholder 29"/>
          <p:cNvSpPr>
            <a:spLocks noGrp="1"/>
          </p:cNvSpPr>
          <p:nvPr>
            <p:ph type="body" sz="quarter" idx="25" hasCustomPrompt="1"/>
          </p:nvPr>
        </p:nvSpPr>
        <p:spPr>
          <a:xfrm>
            <a:off x="6163135" y="4660492"/>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51" name="Text Placeholder 29"/>
          <p:cNvSpPr>
            <a:spLocks noGrp="1"/>
          </p:cNvSpPr>
          <p:nvPr>
            <p:ph type="body" sz="quarter" idx="26" hasCustomPrompt="1"/>
          </p:nvPr>
        </p:nvSpPr>
        <p:spPr>
          <a:xfrm>
            <a:off x="7881195" y="4393620"/>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52" name="Text Placeholder 29"/>
          <p:cNvSpPr>
            <a:spLocks noGrp="1"/>
          </p:cNvSpPr>
          <p:nvPr>
            <p:ph type="body" sz="quarter" idx="27" hasCustomPrompt="1"/>
          </p:nvPr>
        </p:nvSpPr>
        <p:spPr>
          <a:xfrm>
            <a:off x="7881195" y="4660492"/>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53" name="Text Placeholder 29"/>
          <p:cNvSpPr>
            <a:spLocks noGrp="1"/>
          </p:cNvSpPr>
          <p:nvPr>
            <p:ph type="body" sz="quarter" idx="28" hasCustomPrompt="1"/>
          </p:nvPr>
        </p:nvSpPr>
        <p:spPr>
          <a:xfrm>
            <a:off x="9599255" y="4393620"/>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54" name="Text Placeholder 29"/>
          <p:cNvSpPr>
            <a:spLocks noGrp="1"/>
          </p:cNvSpPr>
          <p:nvPr>
            <p:ph type="body" sz="quarter" idx="29" hasCustomPrompt="1"/>
          </p:nvPr>
        </p:nvSpPr>
        <p:spPr>
          <a:xfrm>
            <a:off x="9599255" y="4660492"/>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26" name="Slide Number Placeholder 1">
            <a:extLst>
              <a:ext uri="{FF2B5EF4-FFF2-40B4-BE49-F238E27FC236}">
                <a16:creationId xmlns:a16="http://schemas.microsoft.com/office/drawing/2014/main" id="{755DD4D5-D2C8-6B4B-AE4A-066124298B40}"/>
              </a:ext>
            </a:extLst>
          </p:cNvPr>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7" name="Footer Placeholder 1">
            <a:extLst>
              <a:ext uri="{FF2B5EF4-FFF2-40B4-BE49-F238E27FC236}">
                <a16:creationId xmlns:a16="http://schemas.microsoft.com/office/drawing/2014/main" id="{4C03BB8D-C67E-C848-A40B-75D6828B0C06}"/>
              </a:ext>
            </a:extLst>
          </p:cNvPr>
          <p:cNvSpPr>
            <a:spLocks noGrp="1"/>
          </p:cNvSpPr>
          <p:nvPr>
            <p:ph type="ftr" sz="quarter" idx="30"/>
          </p:nvPr>
        </p:nvSpPr>
        <p:spPr>
          <a:xfrm>
            <a:off x="334840" y="6537084"/>
            <a:ext cx="4025949" cy="227333"/>
          </a:xfrm>
        </p:spPr>
        <p:txBody>
          <a:bodyPr/>
          <a:lstStyle/>
          <a:p>
            <a:endParaRPr lang="en-GB"/>
          </a:p>
        </p:txBody>
      </p:sp>
      <p:sp>
        <p:nvSpPr>
          <p:cNvPr id="42" name="Title 2">
            <a:extLst>
              <a:ext uri="{FF2B5EF4-FFF2-40B4-BE49-F238E27FC236}">
                <a16:creationId xmlns:a16="http://schemas.microsoft.com/office/drawing/2014/main" id="{43A3BD9C-2C3A-6148-B91E-20F260DAC060}"/>
              </a:ext>
            </a:extLst>
          </p:cNvPr>
          <p:cNvSpPr>
            <a:spLocks noGrp="1"/>
          </p:cNvSpPr>
          <p:nvPr>
            <p:ph type="title" hasCustomPrompt="1"/>
          </p:nvPr>
        </p:nvSpPr>
        <p:spPr>
          <a:xfrm>
            <a:off x="334841" y="300381"/>
            <a:ext cx="11501793"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Tree>
    <p:extLst>
      <p:ext uri="{BB962C8B-B14F-4D97-AF65-F5344CB8AC3E}">
        <p14:creationId xmlns:p14="http://schemas.microsoft.com/office/powerpoint/2010/main" val="4356340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04">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gradFill flip="none" rotWithShape="1">
            <a:gsLst>
              <a:gs pos="63000">
                <a:schemeClr val="accent2"/>
              </a:gs>
              <a:gs pos="100000">
                <a:schemeClr val="accent2"/>
              </a:gs>
              <a:gs pos="0">
                <a:schemeClr val="accent3"/>
              </a:gs>
            </a:gsLst>
            <a:lin ang="13500000" scaled="1"/>
            <a:tileRect/>
          </a:gradFill>
        </p:spPr>
        <p:txBody>
          <a:bodyPr vert="horz" wrap="square" lIns="91440" tIns="45720" rIns="91440" bIns="45720" rtlCol="0" anchor="ctr">
            <a:noAutofit/>
          </a:bodyPr>
          <a:lstStyle>
            <a:lvl1pPr>
              <a:defRPr lang="en-GB" sz="2400" dirty="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pPr lvl="0" algn="ctr"/>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38">
            <a:extLst>
              <a:ext uri="{FF2B5EF4-FFF2-40B4-BE49-F238E27FC236}">
                <a16:creationId xmlns:a16="http://schemas.microsoft.com/office/drawing/2014/main" id="{3BF9A0A2-88F0-554E-A1CC-FA4F0250982C}"/>
              </a:ext>
            </a:extLst>
          </p:cNvPr>
          <p:cNvSpPr>
            <a:spLocks noGrp="1"/>
          </p:cNvSpPr>
          <p:nvPr>
            <p:ph type="body" sz="quarter" idx="15" hasCustomPrompt="1"/>
          </p:nvPr>
        </p:nvSpPr>
        <p:spPr>
          <a:xfrm>
            <a:off x="334841" y="3259225"/>
            <a:ext cx="11522320" cy="2604546"/>
          </a:xfrm>
        </p:spPr>
        <p:txBody>
          <a:bodyPr anchor="t">
            <a:normAutofit/>
          </a:bodyPr>
          <a:lstStyle>
            <a:lvl1pPr algn="l">
              <a:lnSpc>
                <a:spcPct val="80000"/>
              </a:lnSpc>
              <a:spcBef>
                <a:spcPts val="0"/>
              </a:spcBef>
              <a:defRPr lang="en-GB" sz="11000" b="0" i="0" kern="1200" cap="none" baseline="0" dirty="0">
                <a:solidFill>
                  <a:schemeClr val="bg1"/>
                </a:solidFill>
                <a:latin typeface="Oswald Light" pitchFamily="2" charset="77"/>
                <a:ea typeface="Arial" panose="020B0604020202020204" pitchFamily="34" charset="0"/>
                <a:cs typeface="Arial" panose="020B0604020202020204" pitchFamily="34" charset="0"/>
              </a:defRPr>
            </a:lvl1pPr>
          </a:lstStyle>
          <a:p>
            <a:pPr marL="0" marR="0" lvl="0" indent="0" algn="l" defTabSz="1219170" rtl="0" eaLnBrk="1" fontAlgn="auto" latinLnBrk="0" hangingPunct="1">
              <a:lnSpc>
                <a:spcPct val="80000"/>
              </a:lnSpc>
              <a:spcBef>
                <a:spcPts val="0"/>
              </a:spcBef>
              <a:spcAft>
                <a:spcPts val="0"/>
              </a:spcAft>
              <a:buClrTx/>
              <a:buSzTx/>
              <a:buFont typeface="Arial"/>
              <a:buNone/>
              <a:tabLst/>
            </a:pPr>
            <a:r>
              <a:rPr lang="en-GB" dirty="0"/>
              <a:t>Divider slide</a:t>
            </a:r>
          </a:p>
        </p:txBody>
      </p:sp>
      <p:sp>
        <p:nvSpPr>
          <p:cNvPr id="32" name="Text Placeholder 38">
            <a:extLst>
              <a:ext uri="{FF2B5EF4-FFF2-40B4-BE49-F238E27FC236}">
                <a16:creationId xmlns:a16="http://schemas.microsoft.com/office/drawing/2014/main" id="{139D9A37-0F8C-DD4E-A536-B7E0CF1E5BBA}"/>
              </a:ext>
            </a:extLst>
          </p:cNvPr>
          <p:cNvSpPr>
            <a:spLocks noGrp="1"/>
          </p:cNvSpPr>
          <p:nvPr>
            <p:ph type="body" sz="quarter" idx="13" hasCustomPrompt="1"/>
          </p:nvPr>
        </p:nvSpPr>
        <p:spPr>
          <a:xfrm>
            <a:off x="334840" y="620052"/>
            <a:ext cx="11522320" cy="2639173"/>
          </a:xfrm>
          <a:noFill/>
        </p:spPr>
        <p:txBody>
          <a:bodyPr anchor="b">
            <a:noAutofit/>
          </a:bodyPr>
          <a:lstStyle>
            <a:lvl1pPr algn="l">
              <a:spcBef>
                <a:spcPts val="0"/>
              </a:spcBef>
              <a:defRPr sz="15300" b="1" i="0" cap="all" baseline="0">
                <a:solidFill>
                  <a:schemeClr val="accent3"/>
                </a:solidFill>
                <a:latin typeface="Oswald Light" pitchFamily="2" charset="77"/>
              </a:defRPr>
            </a:lvl1pPr>
          </a:lstStyle>
          <a:p>
            <a:pPr lvl="0"/>
            <a:r>
              <a:rPr lang="en-GB" dirty="0"/>
              <a:t>04</a:t>
            </a:r>
          </a:p>
        </p:txBody>
      </p:sp>
      <p:sp>
        <p:nvSpPr>
          <p:cNvPr id="34" name="Text Placeholder 38">
            <a:extLst>
              <a:ext uri="{FF2B5EF4-FFF2-40B4-BE49-F238E27FC236}">
                <a16:creationId xmlns:a16="http://schemas.microsoft.com/office/drawing/2014/main" id="{EC29B1F2-A3E0-EE46-810D-04D9B1D59953}"/>
              </a:ext>
            </a:extLst>
          </p:cNvPr>
          <p:cNvSpPr>
            <a:spLocks noGrp="1"/>
          </p:cNvSpPr>
          <p:nvPr>
            <p:ph type="body" sz="quarter" idx="16" hasCustomPrompt="1"/>
          </p:nvPr>
        </p:nvSpPr>
        <p:spPr>
          <a:xfrm>
            <a:off x="334841" y="5863771"/>
            <a:ext cx="11522320" cy="380396"/>
          </a:xfrm>
        </p:spPr>
        <p:txBody>
          <a:bodyPr anchor="t">
            <a:noAutofit/>
          </a:bodyPr>
          <a:lstStyle>
            <a:lvl1pPr algn="l">
              <a:lnSpc>
                <a:spcPct val="90000"/>
              </a:lnSpc>
              <a:spcBef>
                <a:spcPts val="0"/>
              </a:spcBef>
              <a:defRPr lang="en-GB" sz="1600" b="0" i="0" kern="1200" cap="none" baseline="0" dirty="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1219170" rtl="0" eaLnBrk="1" latinLnBrk="0" hangingPunct="1">
              <a:lnSpc>
                <a:spcPct val="90000"/>
              </a:lnSpc>
              <a:spcBef>
                <a:spcPts val="0"/>
              </a:spcBef>
              <a:buFont typeface="Arial"/>
              <a:buNone/>
            </a:pPr>
            <a:r>
              <a:rPr lang="en-GB" dirty="0"/>
              <a:t>Sub point</a:t>
            </a:r>
          </a:p>
        </p:txBody>
      </p:sp>
    </p:spTree>
    <p:extLst>
      <p:ext uri="{BB962C8B-B14F-4D97-AF65-F5344CB8AC3E}">
        <p14:creationId xmlns:p14="http://schemas.microsoft.com/office/powerpoint/2010/main" val="32360439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Big numbers slide">
    <p:spTree>
      <p:nvGrpSpPr>
        <p:cNvPr id="1" name=""/>
        <p:cNvGrpSpPr/>
        <p:nvPr/>
      </p:nvGrpSpPr>
      <p:grpSpPr>
        <a:xfrm>
          <a:off x="0" y="0"/>
          <a:ext cx="0" cy="0"/>
          <a:chOff x="0" y="0"/>
          <a:chExt cx="0" cy="0"/>
        </a:xfrm>
      </p:grpSpPr>
      <p:sp>
        <p:nvSpPr>
          <p:cNvPr id="26" name="Slide Number Placeholder 1">
            <a:extLst>
              <a:ext uri="{FF2B5EF4-FFF2-40B4-BE49-F238E27FC236}">
                <a16:creationId xmlns:a16="http://schemas.microsoft.com/office/drawing/2014/main" id="{755DD4D5-D2C8-6B4B-AE4A-066124298B40}"/>
              </a:ext>
            </a:extLst>
          </p:cNvPr>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7" name="Footer Placeholder 1">
            <a:extLst>
              <a:ext uri="{FF2B5EF4-FFF2-40B4-BE49-F238E27FC236}">
                <a16:creationId xmlns:a16="http://schemas.microsoft.com/office/drawing/2014/main" id="{4C03BB8D-C67E-C848-A40B-75D6828B0C06}"/>
              </a:ext>
            </a:extLst>
          </p:cNvPr>
          <p:cNvSpPr>
            <a:spLocks noGrp="1"/>
          </p:cNvSpPr>
          <p:nvPr>
            <p:ph type="ftr" sz="quarter" idx="30"/>
          </p:nvPr>
        </p:nvSpPr>
        <p:spPr>
          <a:xfrm>
            <a:off x="334840" y="6537084"/>
            <a:ext cx="4025949" cy="227333"/>
          </a:xfrm>
        </p:spPr>
        <p:txBody>
          <a:bodyPr/>
          <a:lstStyle/>
          <a:p>
            <a:endParaRPr lang="en-GB"/>
          </a:p>
        </p:txBody>
      </p:sp>
      <p:sp>
        <p:nvSpPr>
          <p:cNvPr id="4" name="Text Placeholder 3">
            <a:extLst>
              <a:ext uri="{FF2B5EF4-FFF2-40B4-BE49-F238E27FC236}">
                <a16:creationId xmlns:a16="http://schemas.microsoft.com/office/drawing/2014/main" id="{E1782CE8-08EE-3347-9CFF-E79FD05B4D3C}"/>
              </a:ext>
            </a:extLst>
          </p:cNvPr>
          <p:cNvSpPr>
            <a:spLocks noGrp="1"/>
          </p:cNvSpPr>
          <p:nvPr>
            <p:ph type="body" sz="quarter" idx="31" hasCustomPrompt="1"/>
          </p:nvPr>
        </p:nvSpPr>
        <p:spPr>
          <a:xfrm>
            <a:off x="3653809" y="2524974"/>
            <a:ext cx="2401888" cy="1323439"/>
          </a:xfrm>
        </p:spPr>
        <p:txBody>
          <a:bodyPr>
            <a:spAutoFit/>
          </a:bodyPr>
          <a:lstStyle>
            <a:lvl1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1pPr>
            <a:lvl2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2pPr>
            <a:lvl3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8000" b="1" i="0" kern="1200" spc="0" dirty="0">
                <a:solidFill>
                  <a:schemeClr val="tx2"/>
                </a:solidFill>
                <a:latin typeface="Oswald Light" pitchFamily="2" charset="77"/>
                <a:ea typeface="+mj-ea"/>
                <a:cs typeface="Arial Narrow" panose="020B0604020202020204" pitchFamily="34" charset="0"/>
              </a:defRPr>
            </a:lvl5pPr>
          </a:lstStyle>
          <a:p>
            <a:pPr lvl="0"/>
            <a:r>
              <a:rPr lang="en-US" dirty="0"/>
              <a:t>XX%</a:t>
            </a:r>
          </a:p>
        </p:txBody>
      </p:sp>
      <p:sp>
        <p:nvSpPr>
          <p:cNvPr id="6" name="Text Placeholder 5">
            <a:extLst>
              <a:ext uri="{FF2B5EF4-FFF2-40B4-BE49-F238E27FC236}">
                <a16:creationId xmlns:a16="http://schemas.microsoft.com/office/drawing/2014/main" id="{477EDE35-B04F-5D4E-B726-76DFB7595D0D}"/>
              </a:ext>
            </a:extLst>
          </p:cNvPr>
          <p:cNvSpPr>
            <a:spLocks noGrp="1"/>
          </p:cNvSpPr>
          <p:nvPr>
            <p:ph type="body" sz="quarter" idx="32" hasCustomPrompt="1"/>
          </p:nvPr>
        </p:nvSpPr>
        <p:spPr>
          <a:xfrm>
            <a:off x="3657340" y="3847803"/>
            <a:ext cx="2401888" cy="558800"/>
          </a:xfrm>
        </p:spPr>
        <p:txBody>
          <a:bodyPr>
            <a:normAutofit/>
          </a:bodyPr>
          <a:lstStyle>
            <a:lvl1pPr algn="l" defTabSz="1219170" rtl="0" eaLnBrk="1" fontAlgn="auto" latinLnBrk="0" hangingPunct="1">
              <a:lnSpc>
                <a:spcPct val="100000"/>
              </a:lnSpc>
              <a:spcBef>
                <a:spcPct val="0"/>
              </a:spcBef>
              <a:spcAft>
                <a:spcPts val="0"/>
              </a:spcAft>
              <a:buNone/>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2pPr>
            <a:lvl3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1100" b="0" i="0" kern="1200" spc="0" dirty="0">
                <a:solidFill>
                  <a:schemeClr val="tx1"/>
                </a:solidFill>
                <a:latin typeface="Arial" panose="020B0604020202020204" pitchFamily="34" charset="0"/>
                <a:ea typeface="+mj-ea"/>
                <a:cs typeface="Arial" panose="020B0604020202020204" pitchFamily="34" charset="0"/>
              </a:defRPr>
            </a:lvl5pPr>
          </a:lstStyle>
          <a:p>
            <a:pPr lvl="0"/>
            <a:r>
              <a:rPr lang="en-US" dirty="0"/>
              <a:t>Text goes in here</a:t>
            </a:r>
          </a:p>
        </p:txBody>
      </p:sp>
      <p:sp>
        <p:nvSpPr>
          <p:cNvPr id="79" name="Text Placeholder 3">
            <a:extLst>
              <a:ext uri="{FF2B5EF4-FFF2-40B4-BE49-F238E27FC236}">
                <a16:creationId xmlns:a16="http://schemas.microsoft.com/office/drawing/2014/main" id="{9F682D56-36FF-8D42-9772-D86834C8B426}"/>
              </a:ext>
            </a:extLst>
          </p:cNvPr>
          <p:cNvSpPr>
            <a:spLocks noGrp="1"/>
          </p:cNvSpPr>
          <p:nvPr>
            <p:ph type="body" sz="quarter" idx="33" hasCustomPrompt="1"/>
          </p:nvPr>
        </p:nvSpPr>
        <p:spPr>
          <a:xfrm>
            <a:off x="946167" y="2524974"/>
            <a:ext cx="2401888" cy="1323439"/>
          </a:xfrm>
        </p:spPr>
        <p:txBody>
          <a:bodyPr>
            <a:spAutoFit/>
          </a:bodyPr>
          <a:lstStyle>
            <a:lvl1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1pPr>
            <a:lvl2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2pPr>
            <a:lvl3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8000" b="1" i="0" kern="1200" spc="0" dirty="0">
                <a:solidFill>
                  <a:schemeClr val="tx2"/>
                </a:solidFill>
                <a:latin typeface="Oswald Light" pitchFamily="2" charset="77"/>
                <a:ea typeface="+mj-ea"/>
                <a:cs typeface="Arial Narrow" panose="020B0604020202020204" pitchFamily="34" charset="0"/>
              </a:defRPr>
            </a:lvl5pPr>
          </a:lstStyle>
          <a:p>
            <a:pPr lvl="0"/>
            <a:r>
              <a:rPr lang="en-US" dirty="0"/>
              <a:t>XX%</a:t>
            </a:r>
          </a:p>
        </p:txBody>
      </p:sp>
      <p:sp>
        <p:nvSpPr>
          <p:cNvPr id="80" name="Text Placeholder 5">
            <a:extLst>
              <a:ext uri="{FF2B5EF4-FFF2-40B4-BE49-F238E27FC236}">
                <a16:creationId xmlns:a16="http://schemas.microsoft.com/office/drawing/2014/main" id="{15AE5C34-EC97-B345-A893-A8ED1A8829C1}"/>
              </a:ext>
            </a:extLst>
          </p:cNvPr>
          <p:cNvSpPr>
            <a:spLocks noGrp="1"/>
          </p:cNvSpPr>
          <p:nvPr>
            <p:ph type="body" sz="quarter" idx="34" hasCustomPrompt="1"/>
          </p:nvPr>
        </p:nvSpPr>
        <p:spPr>
          <a:xfrm>
            <a:off x="951462" y="3847803"/>
            <a:ext cx="2401888" cy="558800"/>
          </a:xfrm>
        </p:spPr>
        <p:txBody>
          <a:bodyPr>
            <a:normAutofit/>
          </a:bodyPr>
          <a:lstStyle>
            <a:lvl1pPr algn="l" defTabSz="1219170" rtl="0" eaLnBrk="1" fontAlgn="auto" latinLnBrk="0" hangingPunct="1">
              <a:lnSpc>
                <a:spcPct val="100000"/>
              </a:lnSpc>
              <a:spcBef>
                <a:spcPct val="0"/>
              </a:spcBef>
              <a:spcAft>
                <a:spcPts val="0"/>
              </a:spcAft>
              <a:buNone/>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2pPr>
            <a:lvl3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1100" b="0" i="0" kern="1200" spc="0" dirty="0">
                <a:solidFill>
                  <a:schemeClr val="tx1"/>
                </a:solidFill>
                <a:latin typeface="Arial" panose="020B0604020202020204" pitchFamily="34" charset="0"/>
                <a:ea typeface="+mj-ea"/>
                <a:cs typeface="Arial" panose="020B0604020202020204" pitchFamily="34" charset="0"/>
              </a:defRPr>
            </a:lvl5pPr>
          </a:lstStyle>
          <a:p>
            <a:pPr lvl="0"/>
            <a:r>
              <a:rPr lang="en-US" dirty="0"/>
              <a:t>Text goes in here</a:t>
            </a:r>
          </a:p>
        </p:txBody>
      </p:sp>
      <p:sp>
        <p:nvSpPr>
          <p:cNvPr id="81" name="Text Placeholder 3">
            <a:extLst>
              <a:ext uri="{FF2B5EF4-FFF2-40B4-BE49-F238E27FC236}">
                <a16:creationId xmlns:a16="http://schemas.microsoft.com/office/drawing/2014/main" id="{F91DFF10-81E8-E942-B9AC-B2995047EED8}"/>
              </a:ext>
            </a:extLst>
          </p:cNvPr>
          <p:cNvSpPr>
            <a:spLocks noGrp="1"/>
          </p:cNvSpPr>
          <p:nvPr>
            <p:ph type="body" sz="quarter" idx="35" hasCustomPrompt="1"/>
          </p:nvPr>
        </p:nvSpPr>
        <p:spPr>
          <a:xfrm>
            <a:off x="6361452" y="2524974"/>
            <a:ext cx="2401888" cy="1323439"/>
          </a:xfrm>
        </p:spPr>
        <p:txBody>
          <a:bodyPr>
            <a:spAutoFit/>
          </a:bodyPr>
          <a:lstStyle>
            <a:lvl1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1pPr>
            <a:lvl2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2pPr>
            <a:lvl3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8000" b="1" i="0" kern="1200" spc="0" dirty="0">
                <a:solidFill>
                  <a:schemeClr val="tx2"/>
                </a:solidFill>
                <a:latin typeface="Oswald Light" pitchFamily="2" charset="77"/>
                <a:ea typeface="+mj-ea"/>
                <a:cs typeface="Arial Narrow" panose="020B0604020202020204" pitchFamily="34" charset="0"/>
              </a:defRPr>
            </a:lvl5pPr>
          </a:lstStyle>
          <a:p>
            <a:pPr lvl="0"/>
            <a:r>
              <a:rPr lang="en-US" dirty="0"/>
              <a:t>XX%</a:t>
            </a:r>
          </a:p>
        </p:txBody>
      </p:sp>
      <p:sp>
        <p:nvSpPr>
          <p:cNvPr id="82" name="Text Placeholder 5">
            <a:extLst>
              <a:ext uri="{FF2B5EF4-FFF2-40B4-BE49-F238E27FC236}">
                <a16:creationId xmlns:a16="http://schemas.microsoft.com/office/drawing/2014/main" id="{EDC3013F-AF4F-DD4A-968C-8222CF42CBA8}"/>
              </a:ext>
            </a:extLst>
          </p:cNvPr>
          <p:cNvSpPr>
            <a:spLocks noGrp="1"/>
          </p:cNvSpPr>
          <p:nvPr>
            <p:ph type="body" sz="quarter" idx="36" hasCustomPrompt="1"/>
          </p:nvPr>
        </p:nvSpPr>
        <p:spPr>
          <a:xfrm>
            <a:off x="6361455" y="3847803"/>
            <a:ext cx="2401888" cy="558800"/>
          </a:xfrm>
        </p:spPr>
        <p:txBody>
          <a:bodyPr>
            <a:normAutofit/>
          </a:bodyPr>
          <a:lstStyle>
            <a:lvl1pPr algn="l" defTabSz="1219170" rtl="0" eaLnBrk="1" fontAlgn="auto" latinLnBrk="0" hangingPunct="1">
              <a:lnSpc>
                <a:spcPct val="100000"/>
              </a:lnSpc>
              <a:spcBef>
                <a:spcPct val="0"/>
              </a:spcBef>
              <a:spcAft>
                <a:spcPts val="0"/>
              </a:spcAft>
              <a:buNone/>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2pPr>
            <a:lvl3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1100" b="0" i="0" kern="1200" spc="0" dirty="0">
                <a:solidFill>
                  <a:schemeClr val="tx1"/>
                </a:solidFill>
                <a:latin typeface="Arial" panose="020B0604020202020204" pitchFamily="34" charset="0"/>
                <a:ea typeface="+mj-ea"/>
                <a:cs typeface="Arial" panose="020B0604020202020204" pitchFamily="34" charset="0"/>
              </a:defRPr>
            </a:lvl5pPr>
          </a:lstStyle>
          <a:p>
            <a:pPr lvl="0"/>
            <a:r>
              <a:rPr lang="en-US" dirty="0"/>
              <a:t>Text goes in here</a:t>
            </a:r>
          </a:p>
        </p:txBody>
      </p:sp>
      <p:sp>
        <p:nvSpPr>
          <p:cNvPr id="83" name="Text Placeholder 3">
            <a:extLst>
              <a:ext uri="{FF2B5EF4-FFF2-40B4-BE49-F238E27FC236}">
                <a16:creationId xmlns:a16="http://schemas.microsoft.com/office/drawing/2014/main" id="{518B65C1-FFC4-2C48-B039-21A052D3F188}"/>
              </a:ext>
            </a:extLst>
          </p:cNvPr>
          <p:cNvSpPr>
            <a:spLocks noGrp="1"/>
          </p:cNvSpPr>
          <p:nvPr>
            <p:ph type="body" sz="quarter" idx="37" hasCustomPrompt="1"/>
          </p:nvPr>
        </p:nvSpPr>
        <p:spPr>
          <a:xfrm>
            <a:off x="9069096" y="2524974"/>
            <a:ext cx="2401888" cy="1323439"/>
          </a:xfrm>
        </p:spPr>
        <p:txBody>
          <a:bodyPr>
            <a:spAutoFit/>
          </a:bodyPr>
          <a:lstStyle>
            <a:lvl1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1pPr>
            <a:lvl2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2pPr>
            <a:lvl3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8000" b="1" i="0" kern="1200" spc="0" dirty="0">
                <a:solidFill>
                  <a:schemeClr val="tx2"/>
                </a:solidFill>
                <a:latin typeface="Oswald Light" pitchFamily="2" charset="77"/>
                <a:ea typeface="+mj-ea"/>
                <a:cs typeface="Arial Narrow" panose="020B0604020202020204" pitchFamily="34" charset="0"/>
              </a:defRPr>
            </a:lvl5pPr>
          </a:lstStyle>
          <a:p>
            <a:pPr lvl="0"/>
            <a:r>
              <a:rPr lang="en-US" dirty="0"/>
              <a:t>XX%</a:t>
            </a:r>
          </a:p>
        </p:txBody>
      </p:sp>
      <p:sp>
        <p:nvSpPr>
          <p:cNvPr id="84" name="Text Placeholder 5">
            <a:extLst>
              <a:ext uri="{FF2B5EF4-FFF2-40B4-BE49-F238E27FC236}">
                <a16:creationId xmlns:a16="http://schemas.microsoft.com/office/drawing/2014/main" id="{E12DD0FA-7F13-5444-BDEB-5779C8BEAE87}"/>
              </a:ext>
            </a:extLst>
          </p:cNvPr>
          <p:cNvSpPr>
            <a:spLocks noGrp="1"/>
          </p:cNvSpPr>
          <p:nvPr>
            <p:ph type="body" sz="quarter" idx="38" hasCustomPrompt="1"/>
          </p:nvPr>
        </p:nvSpPr>
        <p:spPr>
          <a:xfrm>
            <a:off x="9069096" y="3852204"/>
            <a:ext cx="2401888" cy="558800"/>
          </a:xfrm>
        </p:spPr>
        <p:txBody>
          <a:bodyPr>
            <a:normAutofit/>
          </a:bodyPr>
          <a:lstStyle>
            <a:lvl1pPr algn="l" defTabSz="1219170" rtl="0" eaLnBrk="1" fontAlgn="auto" latinLnBrk="0" hangingPunct="1">
              <a:lnSpc>
                <a:spcPct val="100000"/>
              </a:lnSpc>
              <a:spcBef>
                <a:spcPct val="0"/>
              </a:spcBef>
              <a:spcAft>
                <a:spcPts val="0"/>
              </a:spcAft>
              <a:buNone/>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2pPr>
            <a:lvl3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1100" b="0" i="0" kern="1200" spc="0" dirty="0">
                <a:solidFill>
                  <a:schemeClr val="tx1"/>
                </a:solidFill>
                <a:latin typeface="Arial" panose="020B0604020202020204" pitchFamily="34" charset="0"/>
                <a:ea typeface="+mj-ea"/>
                <a:cs typeface="Arial" panose="020B0604020202020204" pitchFamily="34" charset="0"/>
              </a:defRPr>
            </a:lvl5pPr>
          </a:lstStyle>
          <a:p>
            <a:pPr lvl="0"/>
            <a:r>
              <a:rPr lang="en-US" dirty="0"/>
              <a:t>Text goes in here</a:t>
            </a:r>
          </a:p>
        </p:txBody>
      </p:sp>
      <p:sp>
        <p:nvSpPr>
          <p:cNvPr id="35" name="Title 2">
            <a:extLst>
              <a:ext uri="{FF2B5EF4-FFF2-40B4-BE49-F238E27FC236}">
                <a16:creationId xmlns:a16="http://schemas.microsoft.com/office/drawing/2014/main" id="{3D869E8F-E2C7-6248-821E-B107C5A83651}"/>
              </a:ext>
            </a:extLst>
          </p:cNvPr>
          <p:cNvSpPr>
            <a:spLocks noGrp="1"/>
          </p:cNvSpPr>
          <p:nvPr>
            <p:ph type="title" hasCustomPrompt="1"/>
          </p:nvPr>
        </p:nvSpPr>
        <p:spPr>
          <a:xfrm>
            <a:off x="334841" y="300381"/>
            <a:ext cx="11501793"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
        <p:nvSpPr>
          <p:cNvPr id="3" name="Text Placeholder 2">
            <a:extLst>
              <a:ext uri="{FF2B5EF4-FFF2-40B4-BE49-F238E27FC236}">
                <a16:creationId xmlns:a16="http://schemas.microsoft.com/office/drawing/2014/main" id="{C392BFFE-9658-5443-A84D-E4312257D6DE}"/>
              </a:ext>
            </a:extLst>
          </p:cNvPr>
          <p:cNvSpPr>
            <a:spLocks noGrp="1"/>
          </p:cNvSpPr>
          <p:nvPr>
            <p:ph type="body" sz="quarter" idx="39" hasCustomPrompt="1"/>
          </p:nvPr>
        </p:nvSpPr>
        <p:spPr>
          <a:xfrm>
            <a:off x="8912618" y="2747090"/>
            <a:ext cx="7200" cy="2268000"/>
          </a:xfrm>
          <a:gradFill>
            <a:gsLst>
              <a:gs pos="100000">
                <a:schemeClr val="bg1"/>
              </a:gs>
              <a:gs pos="0">
                <a:schemeClr val="bg2"/>
              </a:gs>
            </a:gsLst>
            <a:lin ang="5400000" scaled="1"/>
          </a:gradFill>
        </p:spPr>
        <p:txBody>
          <a:bodyPr>
            <a:normAutofit/>
          </a:bodyPr>
          <a:lstStyle>
            <a:lvl1pPr>
              <a:defRPr sz="100"/>
            </a:lvl1pPr>
            <a:lvl2pPr>
              <a:defRPr sz="100"/>
            </a:lvl2pPr>
            <a:lvl3pPr>
              <a:defRPr sz="100"/>
            </a:lvl3pPr>
            <a:lvl4pPr>
              <a:defRPr sz="100"/>
            </a:lvl4pPr>
            <a:lvl5pPr>
              <a:defRPr sz="100"/>
            </a:lvl5pPr>
          </a:lstStyle>
          <a:p>
            <a:pPr lvl="0"/>
            <a:r>
              <a:rPr lang="en-US" dirty="0"/>
              <a:t>1</a:t>
            </a:r>
          </a:p>
        </p:txBody>
      </p:sp>
      <p:sp>
        <p:nvSpPr>
          <p:cNvPr id="37" name="Text Placeholder 2">
            <a:extLst>
              <a:ext uri="{FF2B5EF4-FFF2-40B4-BE49-F238E27FC236}">
                <a16:creationId xmlns:a16="http://schemas.microsoft.com/office/drawing/2014/main" id="{4620135C-CAF0-014B-863D-FB6EFB0C2F1B}"/>
              </a:ext>
            </a:extLst>
          </p:cNvPr>
          <p:cNvSpPr>
            <a:spLocks noGrp="1"/>
          </p:cNvSpPr>
          <p:nvPr>
            <p:ph type="body" sz="quarter" idx="40" hasCustomPrompt="1"/>
          </p:nvPr>
        </p:nvSpPr>
        <p:spPr>
          <a:xfrm>
            <a:off x="6204975" y="2747090"/>
            <a:ext cx="7200" cy="2268000"/>
          </a:xfrm>
          <a:gradFill>
            <a:gsLst>
              <a:gs pos="100000">
                <a:schemeClr val="bg1"/>
              </a:gs>
              <a:gs pos="0">
                <a:schemeClr val="bg2"/>
              </a:gs>
            </a:gsLst>
            <a:lin ang="5400000" scaled="1"/>
          </a:gradFill>
        </p:spPr>
        <p:txBody>
          <a:bodyPr>
            <a:normAutofit/>
          </a:bodyPr>
          <a:lstStyle>
            <a:lvl1pPr>
              <a:defRPr sz="100"/>
            </a:lvl1pPr>
            <a:lvl2pPr>
              <a:defRPr sz="100"/>
            </a:lvl2pPr>
            <a:lvl3pPr>
              <a:defRPr sz="100"/>
            </a:lvl3pPr>
            <a:lvl4pPr>
              <a:defRPr sz="100"/>
            </a:lvl4pPr>
            <a:lvl5pPr>
              <a:defRPr sz="100"/>
            </a:lvl5pPr>
          </a:lstStyle>
          <a:p>
            <a:pPr lvl="0"/>
            <a:r>
              <a:rPr lang="en-US" dirty="0"/>
              <a:t>1</a:t>
            </a:r>
          </a:p>
        </p:txBody>
      </p:sp>
      <p:sp>
        <p:nvSpPr>
          <p:cNvPr id="38" name="Text Placeholder 2">
            <a:extLst>
              <a:ext uri="{FF2B5EF4-FFF2-40B4-BE49-F238E27FC236}">
                <a16:creationId xmlns:a16="http://schemas.microsoft.com/office/drawing/2014/main" id="{D82DBB0E-7E1B-0B45-8833-E2E512079E7A}"/>
              </a:ext>
            </a:extLst>
          </p:cNvPr>
          <p:cNvSpPr>
            <a:spLocks noGrp="1"/>
          </p:cNvSpPr>
          <p:nvPr>
            <p:ph type="body" sz="quarter" idx="41" hasCustomPrompt="1"/>
          </p:nvPr>
        </p:nvSpPr>
        <p:spPr>
          <a:xfrm>
            <a:off x="3497332" y="2747090"/>
            <a:ext cx="7200" cy="2268000"/>
          </a:xfrm>
          <a:gradFill>
            <a:gsLst>
              <a:gs pos="100000">
                <a:schemeClr val="bg1"/>
              </a:gs>
              <a:gs pos="0">
                <a:schemeClr val="bg2"/>
              </a:gs>
            </a:gsLst>
            <a:lin ang="5400000" scaled="1"/>
          </a:gradFill>
        </p:spPr>
        <p:txBody>
          <a:bodyPr>
            <a:normAutofit/>
          </a:bodyPr>
          <a:lstStyle>
            <a:lvl1pPr>
              <a:defRPr sz="100"/>
            </a:lvl1pPr>
            <a:lvl2pPr>
              <a:defRPr sz="100"/>
            </a:lvl2pPr>
            <a:lvl3pPr>
              <a:defRPr sz="100"/>
            </a:lvl3pPr>
            <a:lvl4pPr>
              <a:defRPr sz="100"/>
            </a:lvl4pPr>
            <a:lvl5pPr>
              <a:defRPr sz="100"/>
            </a:lvl5pPr>
          </a:lstStyle>
          <a:p>
            <a:pPr lvl="0"/>
            <a:r>
              <a:rPr lang="en-US" dirty="0"/>
              <a:t>1</a:t>
            </a:r>
          </a:p>
        </p:txBody>
      </p:sp>
    </p:spTree>
    <p:extLst>
      <p:ext uri="{BB962C8B-B14F-4D97-AF65-F5344CB8AC3E}">
        <p14:creationId xmlns:p14="http://schemas.microsoft.com/office/powerpoint/2010/main" val="26894431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Big numbers slide">
    <p:spTree>
      <p:nvGrpSpPr>
        <p:cNvPr id="1" name=""/>
        <p:cNvGrpSpPr/>
        <p:nvPr/>
      </p:nvGrpSpPr>
      <p:grpSpPr>
        <a:xfrm>
          <a:off x="0" y="0"/>
          <a:ext cx="0" cy="0"/>
          <a:chOff x="0" y="0"/>
          <a:chExt cx="0" cy="0"/>
        </a:xfrm>
      </p:grpSpPr>
      <p:sp>
        <p:nvSpPr>
          <p:cNvPr id="26" name="Slide Number Placeholder 1">
            <a:extLst>
              <a:ext uri="{FF2B5EF4-FFF2-40B4-BE49-F238E27FC236}">
                <a16:creationId xmlns:a16="http://schemas.microsoft.com/office/drawing/2014/main" id="{755DD4D5-D2C8-6B4B-AE4A-066124298B40}"/>
              </a:ext>
            </a:extLst>
          </p:cNvPr>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7" name="Footer Placeholder 1">
            <a:extLst>
              <a:ext uri="{FF2B5EF4-FFF2-40B4-BE49-F238E27FC236}">
                <a16:creationId xmlns:a16="http://schemas.microsoft.com/office/drawing/2014/main" id="{4C03BB8D-C67E-C848-A40B-75D6828B0C06}"/>
              </a:ext>
            </a:extLst>
          </p:cNvPr>
          <p:cNvSpPr>
            <a:spLocks noGrp="1"/>
          </p:cNvSpPr>
          <p:nvPr>
            <p:ph type="ftr" sz="quarter" idx="30"/>
          </p:nvPr>
        </p:nvSpPr>
        <p:spPr>
          <a:xfrm>
            <a:off x="334840" y="6537084"/>
            <a:ext cx="4025949" cy="227333"/>
          </a:xfrm>
        </p:spPr>
        <p:txBody>
          <a:bodyPr/>
          <a:lstStyle/>
          <a:p>
            <a:endParaRPr lang="en-GB"/>
          </a:p>
        </p:txBody>
      </p:sp>
      <p:sp>
        <p:nvSpPr>
          <p:cNvPr id="4" name="Text Placeholder 3">
            <a:extLst>
              <a:ext uri="{FF2B5EF4-FFF2-40B4-BE49-F238E27FC236}">
                <a16:creationId xmlns:a16="http://schemas.microsoft.com/office/drawing/2014/main" id="{E1782CE8-08EE-3347-9CFF-E79FD05B4D3C}"/>
              </a:ext>
            </a:extLst>
          </p:cNvPr>
          <p:cNvSpPr>
            <a:spLocks noGrp="1"/>
          </p:cNvSpPr>
          <p:nvPr>
            <p:ph type="body" sz="quarter" idx="31" hasCustomPrompt="1"/>
          </p:nvPr>
        </p:nvSpPr>
        <p:spPr>
          <a:xfrm>
            <a:off x="3511853" y="3429000"/>
            <a:ext cx="2401888" cy="307777"/>
          </a:xfrm>
        </p:spPr>
        <p:txBody>
          <a:bodyPr>
            <a:spAutoFit/>
          </a:bodyPr>
          <a:lstStyle>
            <a:lvl1pPr algn="ctr" defTabSz="1219170" rtl="0" eaLnBrk="1" fontAlgn="auto" latinLnBrk="0" hangingPunct="1">
              <a:lnSpc>
                <a:spcPct val="100000"/>
              </a:lnSpc>
              <a:spcBef>
                <a:spcPct val="0"/>
              </a:spcBef>
              <a:spcAft>
                <a:spcPts val="0"/>
              </a:spcAft>
              <a:buNone/>
              <a:defRPr lang="en-US" sz="1400" b="1" i="0" kern="1200" spc="0" dirty="0" smtClean="0">
                <a:solidFill>
                  <a:schemeClr val="tx2"/>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2pPr>
            <a:lvl3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8000" b="1" i="0" kern="1200" spc="0" dirty="0">
                <a:solidFill>
                  <a:schemeClr val="tx2"/>
                </a:solidFill>
                <a:latin typeface="Oswald Light" pitchFamily="2" charset="77"/>
                <a:ea typeface="+mj-ea"/>
                <a:cs typeface="Arial Narrow" panose="020B0604020202020204" pitchFamily="34" charset="0"/>
              </a:defRPr>
            </a:lvl5pPr>
          </a:lstStyle>
          <a:p>
            <a:pPr lvl="0"/>
            <a:r>
              <a:rPr lang="en-US" dirty="0"/>
              <a:t>Subhead</a:t>
            </a:r>
          </a:p>
        </p:txBody>
      </p:sp>
      <p:sp>
        <p:nvSpPr>
          <p:cNvPr id="6" name="Text Placeholder 5">
            <a:extLst>
              <a:ext uri="{FF2B5EF4-FFF2-40B4-BE49-F238E27FC236}">
                <a16:creationId xmlns:a16="http://schemas.microsoft.com/office/drawing/2014/main" id="{477EDE35-B04F-5D4E-B726-76DFB7595D0D}"/>
              </a:ext>
            </a:extLst>
          </p:cNvPr>
          <p:cNvSpPr>
            <a:spLocks noGrp="1"/>
          </p:cNvSpPr>
          <p:nvPr>
            <p:ph type="body" sz="quarter" idx="32" hasCustomPrompt="1"/>
          </p:nvPr>
        </p:nvSpPr>
        <p:spPr>
          <a:xfrm>
            <a:off x="3515382" y="3796847"/>
            <a:ext cx="2401888" cy="276999"/>
          </a:xfrm>
        </p:spPr>
        <p:txBody>
          <a:bodyPr>
            <a:spAutoFit/>
          </a:bodyPr>
          <a:lstStyle>
            <a:lvl1pPr algn="ctr" defTabSz="1219170" rtl="0" eaLnBrk="1" fontAlgn="auto" latinLnBrk="0" hangingPunct="1">
              <a:lnSpc>
                <a:spcPct val="100000"/>
              </a:lnSpc>
              <a:spcBef>
                <a:spcPct val="0"/>
              </a:spcBef>
              <a:spcAft>
                <a:spcPts val="0"/>
              </a:spcAft>
              <a:buNone/>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2pPr>
            <a:lvl3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1100" b="0" i="0" kern="1200" spc="0" dirty="0">
                <a:solidFill>
                  <a:schemeClr val="tx1"/>
                </a:solidFill>
                <a:latin typeface="Arial" panose="020B0604020202020204" pitchFamily="34" charset="0"/>
                <a:ea typeface="+mj-ea"/>
                <a:cs typeface="Arial" panose="020B0604020202020204" pitchFamily="34" charset="0"/>
              </a:defRPr>
            </a:lvl5pPr>
          </a:lstStyle>
          <a:p>
            <a:pPr lvl="0"/>
            <a:r>
              <a:rPr lang="en-US" dirty="0"/>
              <a:t>Text goes in here</a:t>
            </a:r>
          </a:p>
        </p:txBody>
      </p:sp>
      <p:sp>
        <p:nvSpPr>
          <p:cNvPr id="79" name="Text Placeholder 3">
            <a:extLst>
              <a:ext uri="{FF2B5EF4-FFF2-40B4-BE49-F238E27FC236}">
                <a16:creationId xmlns:a16="http://schemas.microsoft.com/office/drawing/2014/main" id="{9F682D56-36FF-8D42-9772-D86834C8B426}"/>
              </a:ext>
            </a:extLst>
          </p:cNvPr>
          <p:cNvSpPr>
            <a:spLocks noGrp="1"/>
          </p:cNvSpPr>
          <p:nvPr>
            <p:ph type="body" sz="quarter" idx="33" hasCustomPrompt="1"/>
          </p:nvPr>
        </p:nvSpPr>
        <p:spPr>
          <a:xfrm>
            <a:off x="804209" y="3429000"/>
            <a:ext cx="2401888" cy="307777"/>
          </a:xfrm>
        </p:spPr>
        <p:txBody>
          <a:bodyPr>
            <a:spAutoFit/>
          </a:bodyPr>
          <a:lstStyle>
            <a:lvl1pPr algn="ctr" defTabSz="1219170" rtl="0" eaLnBrk="1" fontAlgn="auto" latinLnBrk="0" hangingPunct="1">
              <a:lnSpc>
                <a:spcPct val="100000"/>
              </a:lnSpc>
              <a:spcBef>
                <a:spcPct val="0"/>
              </a:spcBef>
              <a:spcAft>
                <a:spcPts val="0"/>
              </a:spcAft>
              <a:buNone/>
              <a:defRPr lang="en-US" sz="1400" b="1" i="0" kern="1200" spc="0" dirty="0" smtClean="0">
                <a:solidFill>
                  <a:schemeClr val="tx2"/>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2pPr>
            <a:lvl3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8000" b="1" i="0" kern="1200" spc="0" dirty="0">
                <a:solidFill>
                  <a:schemeClr val="tx2"/>
                </a:solidFill>
                <a:latin typeface="Oswald Light" pitchFamily="2" charset="77"/>
                <a:ea typeface="+mj-ea"/>
                <a:cs typeface="Arial Narrow" panose="020B0604020202020204" pitchFamily="34" charset="0"/>
              </a:defRPr>
            </a:lvl5pPr>
          </a:lstStyle>
          <a:p>
            <a:pPr lvl="0"/>
            <a:r>
              <a:rPr lang="en-US" dirty="0"/>
              <a:t>Subhead</a:t>
            </a:r>
          </a:p>
        </p:txBody>
      </p:sp>
      <p:sp>
        <p:nvSpPr>
          <p:cNvPr id="80" name="Text Placeholder 5">
            <a:extLst>
              <a:ext uri="{FF2B5EF4-FFF2-40B4-BE49-F238E27FC236}">
                <a16:creationId xmlns:a16="http://schemas.microsoft.com/office/drawing/2014/main" id="{15AE5C34-EC97-B345-A893-A8ED1A8829C1}"/>
              </a:ext>
            </a:extLst>
          </p:cNvPr>
          <p:cNvSpPr>
            <a:spLocks noGrp="1"/>
          </p:cNvSpPr>
          <p:nvPr>
            <p:ph type="body" sz="quarter" idx="34" hasCustomPrompt="1"/>
          </p:nvPr>
        </p:nvSpPr>
        <p:spPr>
          <a:xfrm>
            <a:off x="800681" y="3796847"/>
            <a:ext cx="2401888" cy="276999"/>
          </a:xfrm>
        </p:spPr>
        <p:txBody>
          <a:bodyPr>
            <a:spAutoFit/>
          </a:bodyPr>
          <a:lstStyle>
            <a:lvl1pPr algn="ctr" defTabSz="1219170" rtl="0" eaLnBrk="1" fontAlgn="auto" latinLnBrk="0" hangingPunct="1">
              <a:lnSpc>
                <a:spcPct val="100000"/>
              </a:lnSpc>
              <a:spcBef>
                <a:spcPct val="0"/>
              </a:spcBef>
              <a:spcAft>
                <a:spcPts val="0"/>
              </a:spcAft>
              <a:buNone/>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2pPr>
            <a:lvl3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1100" b="0" i="0" kern="1200" spc="0" dirty="0">
                <a:solidFill>
                  <a:schemeClr val="tx1"/>
                </a:solidFill>
                <a:latin typeface="Arial" panose="020B0604020202020204" pitchFamily="34" charset="0"/>
                <a:ea typeface="+mj-ea"/>
                <a:cs typeface="Arial" panose="020B0604020202020204" pitchFamily="34" charset="0"/>
              </a:defRPr>
            </a:lvl5pPr>
          </a:lstStyle>
          <a:p>
            <a:pPr lvl="0"/>
            <a:r>
              <a:rPr lang="en-US" dirty="0"/>
              <a:t>Text goes in here</a:t>
            </a:r>
          </a:p>
        </p:txBody>
      </p:sp>
      <p:sp>
        <p:nvSpPr>
          <p:cNvPr id="81" name="Text Placeholder 3">
            <a:extLst>
              <a:ext uri="{FF2B5EF4-FFF2-40B4-BE49-F238E27FC236}">
                <a16:creationId xmlns:a16="http://schemas.microsoft.com/office/drawing/2014/main" id="{F91DFF10-81E8-E942-B9AC-B2995047EED8}"/>
              </a:ext>
            </a:extLst>
          </p:cNvPr>
          <p:cNvSpPr>
            <a:spLocks noGrp="1"/>
          </p:cNvSpPr>
          <p:nvPr>
            <p:ph type="body" sz="quarter" idx="35" hasCustomPrompt="1"/>
          </p:nvPr>
        </p:nvSpPr>
        <p:spPr>
          <a:xfrm>
            <a:off x="6219497" y="3429000"/>
            <a:ext cx="2401888" cy="307777"/>
          </a:xfrm>
        </p:spPr>
        <p:txBody>
          <a:bodyPr>
            <a:spAutoFit/>
          </a:bodyPr>
          <a:lstStyle>
            <a:lvl1pPr algn="ctr" defTabSz="1219170" rtl="0" eaLnBrk="1" fontAlgn="auto" latinLnBrk="0" hangingPunct="1">
              <a:lnSpc>
                <a:spcPct val="100000"/>
              </a:lnSpc>
              <a:spcBef>
                <a:spcPct val="0"/>
              </a:spcBef>
              <a:spcAft>
                <a:spcPts val="0"/>
              </a:spcAft>
              <a:buNone/>
              <a:defRPr lang="en-US" sz="1400" b="1" i="0" kern="1200" spc="0" dirty="0" smtClean="0">
                <a:solidFill>
                  <a:schemeClr val="tx2"/>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2pPr>
            <a:lvl3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8000" b="1" i="0" kern="1200" spc="0" dirty="0">
                <a:solidFill>
                  <a:schemeClr val="tx2"/>
                </a:solidFill>
                <a:latin typeface="Oswald Light" pitchFamily="2" charset="77"/>
                <a:ea typeface="+mj-ea"/>
                <a:cs typeface="Arial Narrow" panose="020B0604020202020204" pitchFamily="34" charset="0"/>
              </a:defRPr>
            </a:lvl5pPr>
          </a:lstStyle>
          <a:p>
            <a:pPr lvl="0"/>
            <a:r>
              <a:rPr lang="en-US" dirty="0"/>
              <a:t>Subhead</a:t>
            </a:r>
          </a:p>
        </p:txBody>
      </p:sp>
      <p:sp>
        <p:nvSpPr>
          <p:cNvPr id="82" name="Text Placeholder 5">
            <a:extLst>
              <a:ext uri="{FF2B5EF4-FFF2-40B4-BE49-F238E27FC236}">
                <a16:creationId xmlns:a16="http://schemas.microsoft.com/office/drawing/2014/main" id="{EDC3013F-AF4F-DD4A-968C-8222CF42CBA8}"/>
              </a:ext>
            </a:extLst>
          </p:cNvPr>
          <p:cNvSpPr>
            <a:spLocks noGrp="1"/>
          </p:cNvSpPr>
          <p:nvPr>
            <p:ph type="body" sz="quarter" idx="36" hasCustomPrompt="1"/>
          </p:nvPr>
        </p:nvSpPr>
        <p:spPr>
          <a:xfrm>
            <a:off x="6219497" y="3796847"/>
            <a:ext cx="2401888" cy="276999"/>
          </a:xfrm>
        </p:spPr>
        <p:txBody>
          <a:bodyPr>
            <a:spAutoFit/>
          </a:bodyPr>
          <a:lstStyle>
            <a:lvl1pPr algn="ctr" defTabSz="1219170" rtl="0" eaLnBrk="1" fontAlgn="auto" latinLnBrk="0" hangingPunct="1">
              <a:lnSpc>
                <a:spcPct val="100000"/>
              </a:lnSpc>
              <a:spcBef>
                <a:spcPct val="0"/>
              </a:spcBef>
              <a:spcAft>
                <a:spcPts val="0"/>
              </a:spcAft>
              <a:buNone/>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2pPr>
            <a:lvl3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1100" b="0" i="0" kern="1200" spc="0" dirty="0">
                <a:solidFill>
                  <a:schemeClr val="tx1"/>
                </a:solidFill>
                <a:latin typeface="Arial" panose="020B0604020202020204" pitchFamily="34" charset="0"/>
                <a:ea typeface="+mj-ea"/>
                <a:cs typeface="Arial" panose="020B0604020202020204" pitchFamily="34" charset="0"/>
              </a:defRPr>
            </a:lvl5pPr>
          </a:lstStyle>
          <a:p>
            <a:pPr lvl="0"/>
            <a:r>
              <a:rPr lang="en-US" dirty="0"/>
              <a:t>Text goes in here</a:t>
            </a:r>
          </a:p>
        </p:txBody>
      </p:sp>
      <p:sp>
        <p:nvSpPr>
          <p:cNvPr id="83" name="Text Placeholder 3">
            <a:extLst>
              <a:ext uri="{FF2B5EF4-FFF2-40B4-BE49-F238E27FC236}">
                <a16:creationId xmlns:a16="http://schemas.microsoft.com/office/drawing/2014/main" id="{518B65C1-FFC4-2C48-B039-21A052D3F188}"/>
              </a:ext>
            </a:extLst>
          </p:cNvPr>
          <p:cNvSpPr>
            <a:spLocks noGrp="1"/>
          </p:cNvSpPr>
          <p:nvPr>
            <p:ph type="body" sz="quarter" idx="37" hasCustomPrompt="1"/>
          </p:nvPr>
        </p:nvSpPr>
        <p:spPr>
          <a:xfrm>
            <a:off x="8927138" y="3429000"/>
            <a:ext cx="2401888" cy="307777"/>
          </a:xfrm>
        </p:spPr>
        <p:txBody>
          <a:bodyPr>
            <a:spAutoFit/>
          </a:bodyPr>
          <a:lstStyle>
            <a:lvl1pPr algn="ctr" defTabSz="1219170" rtl="0" eaLnBrk="1" fontAlgn="auto" latinLnBrk="0" hangingPunct="1">
              <a:lnSpc>
                <a:spcPct val="100000"/>
              </a:lnSpc>
              <a:spcBef>
                <a:spcPct val="0"/>
              </a:spcBef>
              <a:spcAft>
                <a:spcPts val="0"/>
              </a:spcAft>
              <a:buNone/>
              <a:defRPr lang="en-US" sz="1400" b="1" i="0" kern="1200" spc="0" dirty="0" smtClean="0">
                <a:solidFill>
                  <a:schemeClr val="tx2"/>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2pPr>
            <a:lvl3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8000" b="1" i="0" kern="1200" spc="0" dirty="0">
                <a:solidFill>
                  <a:schemeClr val="tx2"/>
                </a:solidFill>
                <a:latin typeface="Oswald Light" pitchFamily="2" charset="77"/>
                <a:ea typeface="+mj-ea"/>
                <a:cs typeface="Arial Narrow" panose="020B0604020202020204" pitchFamily="34" charset="0"/>
              </a:defRPr>
            </a:lvl5pPr>
          </a:lstStyle>
          <a:p>
            <a:pPr lvl="0"/>
            <a:r>
              <a:rPr lang="en-US" dirty="0"/>
              <a:t>Subhead</a:t>
            </a:r>
          </a:p>
        </p:txBody>
      </p:sp>
      <p:sp>
        <p:nvSpPr>
          <p:cNvPr id="84" name="Text Placeholder 5">
            <a:extLst>
              <a:ext uri="{FF2B5EF4-FFF2-40B4-BE49-F238E27FC236}">
                <a16:creationId xmlns:a16="http://schemas.microsoft.com/office/drawing/2014/main" id="{E12DD0FA-7F13-5444-BDEB-5779C8BEAE87}"/>
              </a:ext>
            </a:extLst>
          </p:cNvPr>
          <p:cNvSpPr>
            <a:spLocks noGrp="1"/>
          </p:cNvSpPr>
          <p:nvPr>
            <p:ph type="body" sz="quarter" idx="38" hasCustomPrompt="1"/>
          </p:nvPr>
        </p:nvSpPr>
        <p:spPr>
          <a:xfrm>
            <a:off x="8927138" y="3796847"/>
            <a:ext cx="2401888" cy="276999"/>
          </a:xfrm>
        </p:spPr>
        <p:txBody>
          <a:bodyPr>
            <a:spAutoFit/>
          </a:bodyPr>
          <a:lstStyle>
            <a:lvl1pPr algn="ctr" defTabSz="1219170" rtl="0" eaLnBrk="1" fontAlgn="auto" latinLnBrk="0" hangingPunct="1">
              <a:lnSpc>
                <a:spcPct val="100000"/>
              </a:lnSpc>
              <a:spcBef>
                <a:spcPct val="0"/>
              </a:spcBef>
              <a:spcAft>
                <a:spcPts val="0"/>
              </a:spcAft>
              <a:buNone/>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2pPr>
            <a:lvl3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1100" b="0" i="0" kern="1200" spc="0" dirty="0">
                <a:solidFill>
                  <a:schemeClr val="tx1"/>
                </a:solidFill>
                <a:latin typeface="Arial" panose="020B0604020202020204" pitchFamily="34" charset="0"/>
                <a:ea typeface="+mj-ea"/>
                <a:cs typeface="Arial" panose="020B0604020202020204" pitchFamily="34" charset="0"/>
              </a:defRPr>
            </a:lvl5pPr>
          </a:lstStyle>
          <a:p>
            <a:pPr lvl="0"/>
            <a:r>
              <a:rPr lang="en-US" dirty="0"/>
              <a:t>Text goes in here</a:t>
            </a:r>
          </a:p>
        </p:txBody>
      </p:sp>
      <p:sp>
        <p:nvSpPr>
          <p:cNvPr id="36" name="Title 2">
            <a:extLst>
              <a:ext uri="{FF2B5EF4-FFF2-40B4-BE49-F238E27FC236}">
                <a16:creationId xmlns:a16="http://schemas.microsoft.com/office/drawing/2014/main" id="{402EFD93-493B-6946-B69B-8809263B3213}"/>
              </a:ext>
            </a:extLst>
          </p:cNvPr>
          <p:cNvSpPr>
            <a:spLocks noGrp="1"/>
          </p:cNvSpPr>
          <p:nvPr>
            <p:ph type="title" hasCustomPrompt="1"/>
          </p:nvPr>
        </p:nvSpPr>
        <p:spPr>
          <a:xfrm>
            <a:off x="334841" y="300381"/>
            <a:ext cx="11501793"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
        <p:nvSpPr>
          <p:cNvPr id="35" name="Text Placeholder 2">
            <a:extLst>
              <a:ext uri="{FF2B5EF4-FFF2-40B4-BE49-F238E27FC236}">
                <a16:creationId xmlns:a16="http://schemas.microsoft.com/office/drawing/2014/main" id="{8232C0BD-3BFE-8A4C-81EC-B061BD65AB24}"/>
              </a:ext>
            </a:extLst>
          </p:cNvPr>
          <p:cNvSpPr>
            <a:spLocks noGrp="1"/>
          </p:cNvSpPr>
          <p:nvPr>
            <p:ph type="body" sz="quarter" idx="39" hasCustomPrompt="1"/>
          </p:nvPr>
        </p:nvSpPr>
        <p:spPr>
          <a:xfrm>
            <a:off x="8770662" y="3194723"/>
            <a:ext cx="7200" cy="1440000"/>
          </a:xfrm>
          <a:gradFill>
            <a:gsLst>
              <a:gs pos="100000">
                <a:schemeClr val="bg1"/>
              </a:gs>
              <a:gs pos="0">
                <a:schemeClr val="bg2"/>
              </a:gs>
            </a:gsLst>
            <a:lin ang="5400000" scaled="1"/>
          </a:gradFill>
        </p:spPr>
        <p:txBody>
          <a:bodyPr>
            <a:normAutofit/>
          </a:bodyPr>
          <a:lstStyle>
            <a:lvl1pPr>
              <a:defRPr sz="100"/>
            </a:lvl1pPr>
            <a:lvl2pPr>
              <a:defRPr sz="100"/>
            </a:lvl2pPr>
            <a:lvl3pPr>
              <a:defRPr sz="100"/>
            </a:lvl3pPr>
            <a:lvl4pPr>
              <a:defRPr sz="100"/>
            </a:lvl4pPr>
            <a:lvl5pPr>
              <a:defRPr sz="100"/>
            </a:lvl5pPr>
          </a:lstStyle>
          <a:p>
            <a:pPr lvl="0"/>
            <a:r>
              <a:rPr lang="en-US" dirty="0"/>
              <a:t>1</a:t>
            </a:r>
          </a:p>
        </p:txBody>
      </p:sp>
      <p:sp>
        <p:nvSpPr>
          <p:cNvPr id="37" name="Text Placeholder 2">
            <a:extLst>
              <a:ext uri="{FF2B5EF4-FFF2-40B4-BE49-F238E27FC236}">
                <a16:creationId xmlns:a16="http://schemas.microsoft.com/office/drawing/2014/main" id="{13FF1CBC-3F65-1149-B1E4-BD6E74265660}"/>
              </a:ext>
            </a:extLst>
          </p:cNvPr>
          <p:cNvSpPr>
            <a:spLocks noGrp="1"/>
          </p:cNvSpPr>
          <p:nvPr>
            <p:ph type="body" sz="quarter" idx="40" hasCustomPrompt="1"/>
          </p:nvPr>
        </p:nvSpPr>
        <p:spPr>
          <a:xfrm>
            <a:off x="6063019" y="3194723"/>
            <a:ext cx="7200" cy="1440000"/>
          </a:xfrm>
          <a:gradFill>
            <a:gsLst>
              <a:gs pos="100000">
                <a:schemeClr val="bg1"/>
              </a:gs>
              <a:gs pos="0">
                <a:schemeClr val="bg2"/>
              </a:gs>
            </a:gsLst>
            <a:lin ang="5400000" scaled="1"/>
          </a:gradFill>
        </p:spPr>
        <p:txBody>
          <a:bodyPr>
            <a:normAutofit/>
          </a:bodyPr>
          <a:lstStyle>
            <a:lvl1pPr>
              <a:defRPr sz="100"/>
            </a:lvl1pPr>
            <a:lvl2pPr>
              <a:defRPr sz="100"/>
            </a:lvl2pPr>
            <a:lvl3pPr>
              <a:defRPr sz="100"/>
            </a:lvl3pPr>
            <a:lvl4pPr>
              <a:defRPr sz="100"/>
            </a:lvl4pPr>
            <a:lvl5pPr>
              <a:defRPr sz="100"/>
            </a:lvl5pPr>
          </a:lstStyle>
          <a:p>
            <a:pPr lvl="0"/>
            <a:r>
              <a:rPr lang="en-US" dirty="0"/>
              <a:t>1</a:t>
            </a:r>
          </a:p>
        </p:txBody>
      </p:sp>
      <p:sp>
        <p:nvSpPr>
          <p:cNvPr id="38" name="Text Placeholder 2">
            <a:extLst>
              <a:ext uri="{FF2B5EF4-FFF2-40B4-BE49-F238E27FC236}">
                <a16:creationId xmlns:a16="http://schemas.microsoft.com/office/drawing/2014/main" id="{5F84643A-9163-EC4F-BB47-B8DD4926413E}"/>
              </a:ext>
            </a:extLst>
          </p:cNvPr>
          <p:cNvSpPr>
            <a:spLocks noGrp="1"/>
          </p:cNvSpPr>
          <p:nvPr>
            <p:ph type="body" sz="quarter" idx="41" hasCustomPrompt="1"/>
          </p:nvPr>
        </p:nvSpPr>
        <p:spPr>
          <a:xfrm>
            <a:off x="3355376" y="3194723"/>
            <a:ext cx="7200" cy="1440000"/>
          </a:xfrm>
          <a:gradFill>
            <a:gsLst>
              <a:gs pos="100000">
                <a:schemeClr val="bg1"/>
              </a:gs>
              <a:gs pos="0">
                <a:schemeClr val="bg2"/>
              </a:gs>
            </a:gsLst>
            <a:lin ang="5400000" scaled="1"/>
          </a:gradFill>
        </p:spPr>
        <p:txBody>
          <a:bodyPr>
            <a:normAutofit/>
          </a:bodyPr>
          <a:lstStyle>
            <a:lvl1pPr>
              <a:defRPr sz="100"/>
            </a:lvl1pPr>
            <a:lvl2pPr>
              <a:defRPr sz="100"/>
            </a:lvl2pPr>
            <a:lvl3pPr>
              <a:defRPr sz="100"/>
            </a:lvl3pPr>
            <a:lvl4pPr>
              <a:defRPr sz="100"/>
            </a:lvl4pPr>
            <a:lvl5pPr>
              <a:defRPr sz="100"/>
            </a:lvl5pPr>
          </a:lstStyle>
          <a:p>
            <a:pPr lvl="0"/>
            <a:r>
              <a:rPr lang="en-US" dirty="0"/>
              <a:t>1</a:t>
            </a:r>
          </a:p>
        </p:txBody>
      </p:sp>
    </p:spTree>
    <p:extLst>
      <p:ext uri="{BB962C8B-B14F-4D97-AF65-F5344CB8AC3E}">
        <p14:creationId xmlns:p14="http://schemas.microsoft.com/office/powerpoint/2010/main" val="18508200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ur big poi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0E39FA9-E932-3849-8B98-8113E4DDDD5C}"/>
              </a:ext>
            </a:extLst>
          </p:cNvPr>
          <p:cNvSpPr/>
          <p:nvPr userDrawn="1"/>
        </p:nvSpPr>
        <p:spPr>
          <a:xfrm>
            <a:off x="0" y="0"/>
            <a:ext cx="12192000" cy="64531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a typeface="Oswald Light" charset="0"/>
              <a:cs typeface="Oswald Light" charset="0"/>
            </a:endParaRP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6" name="Text Placeholder 5">
            <a:extLst>
              <a:ext uri="{FF2B5EF4-FFF2-40B4-BE49-F238E27FC236}">
                <a16:creationId xmlns:a16="http://schemas.microsoft.com/office/drawing/2014/main" id="{9868E1F1-158B-DE48-ADBD-CD21049AD5F5}"/>
              </a:ext>
            </a:extLst>
          </p:cNvPr>
          <p:cNvSpPr>
            <a:spLocks noGrp="1"/>
          </p:cNvSpPr>
          <p:nvPr>
            <p:ph type="body" sz="quarter" idx="15" hasCustomPrompt="1"/>
          </p:nvPr>
        </p:nvSpPr>
        <p:spPr>
          <a:xfrm>
            <a:off x="894902" y="2110384"/>
            <a:ext cx="1619250" cy="1620837"/>
          </a:xfrm>
          <a:solidFill>
            <a:schemeClr val="bg2"/>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9" name="Text Placeholder 8">
            <a:extLst>
              <a:ext uri="{FF2B5EF4-FFF2-40B4-BE49-F238E27FC236}">
                <a16:creationId xmlns:a16="http://schemas.microsoft.com/office/drawing/2014/main" id="{D7B05700-6A59-CE4A-B6A1-3F4CA605A9BC}"/>
              </a:ext>
            </a:extLst>
          </p:cNvPr>
          <p:cNvSpPr>
            <a:spLocks noGrp="1"/>
          </p:cNvSpPr>
          <p:nvPr>
            <p:ph type="body" sz="quarter" idx="16"/>
          </p:nvPr>
        </p:nvSpPr>
        <p:spPr>
          <a:xfrm>
            <a:off x="2514152" y="2110384"/>
            <a:ext cx="3325812" cy="1631950"/>
          </a:xfrm>
          <a:solidFill>
            <a:srgbClr val="FFFFFF"/>
          </a:solidFill>
        </p:spPr>
        <p:txBody>
          <a:bodyPr lIns="144000" anchor="ctr">
            <a:normAutofit/>
          </a:bodyPr>
          <a:lstStyle>
            <a:lvl1pPr>
              <a:lnSpc>
                <a:spcPct val="113000"/>
              </a:lnSpc>
              <a:spcBef>
                <a:spcPts val="600"/>
              </a:spcBef>
              <a:defRPr sz="1200"/>
            </a:lvl1pPr>
          </a:lstStyle>
          <a:p>
            <a:pPr lvl="0"/>
            <a:r>
              <a:rPr lang="en-US"/>
              <a:t>Click to edit Master text styles</a:t>
            </a:r>
          </a:p>
        </p:txBody>
      </p:sp>
      <p:sp>
        <p:nvSpPr>
          <p:cNvPr id="30" name="Text Placeholder 5">
            <a:extLst>
              <a:ext uri="{FF2B5EF4-FFF2-40B4-BE49-F238E27FC236}">
                <a16:creationId xmlns:a16="http://schemas.microsoft.com/office/drawing/2014/main" id="{E0D9B316-E3CD-0347-92B0-CF0FFA5F1F90}"/>
              </a:ext>
            </a:extLst>
          </p:cNvPr>
          <p:cNvSpPr>
            <a:spLocks noGrp="1"/>
          </p:cNvSpPr>
          <p:nvPr>
            <p:ph type="body" sz="quarter" idx="17" hasCustomPrompt="1"/>
          </p:nvPr>
        </p:nvSpPr>
        <p:spPr>
          <a:xfrm>
            <a:off x="6418359" y="2110384"/>
            <a:ext cx="1619250" cy="1620837"/>
          </a:xfrm>
          <a:solidFill>
            <a:schemeClr val="accent1"/>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31" name="Text Placeholder 8">
            <a:extLst>
              <a:ext uri="{FF2B5EF4-FFF2-40B4-BE49-F238E27FC236}">
                <a16:creationId xmlns:a16="http://schemas.microsoft.com/office/drawing/2014/main" id="{F67F1713-128D-654F-A6BB-0D30764C4AE9}"/>
              </a:ext>
            </a:extLst>
          </p:cNvPr>
          <p:cNvSpPr>
            <a:spLocks noGrp="1"/>
          </p:cNvSpPr>
          <p:nvPr>
            <p:ph type="body" sz="quarter" idx="18"/>
          </p:nvPr>
        </p:nvSpPr>
        <p:spPr>
          <a:xfrm>
            <a:off x="8037609" y="2110384"/>
            <a:ext cx="3325812" cy="1631950"/>
          </a:xfrm>
          <a:solidFill>
            <a:srgbClr val="FFFFFF"/>
          </a:solidFill>
        </p:spPr>
        <p:txBody>
          <a:bodyPr lIns="144000" anchor="ctr">
            <a:normAutofit/>
          </a:bodyPr>
          <a:lstStyle>
            <a:lvl1pPr>
              <a:lnSpc>
                <a:spcPct val="113000"/>
              </a:lnSpc>
              <a:spcBef>
                <a:spcPts val="600"/>
              </a:spcBef>
              <a:defRPr sz="1200"/>
            </a:lvl1pPr>
          </a:lstStyle>
          <a:p>
            <a:pPr lvl="0"/>
            <a:r>
              <a:rPr lang="en-US"/>
              <a:t>Click to edit Master text styles</a:t>
            </a:r>
          </a:p>
        </p:txBody>
      </p:sp>
      <p:sp>
        <p:nvSpPr>
          <p:cNvPr id="32" name="Text Placeholder 5">
            <a:extLst>
              <a:ext uri="{FF2B5EF4-FFF2-40B4-BE49-F238E27FC236}">
                <a16:creationId xmlns:a16="http://schemas.microsoft.com/office/drawing/2014/main" id="{AAA9FFF3-34DD-7F47-AEFC-C3FDC6B55B75}"/>
              </a:ext>
            </a:extLst>
          </p:cNvPr>
          <p:cNvSpPr>
            <a:spLocks noGrp="1"/>
          </p:cNvSpPr>
          <p:nvPr>
            <p:ph type="body" sz="quarter" idx="19" hasCustomPrompt="1"/>
          </p:nvPr>
        </p:nvSpPr>
        <p:spPr>
          <a:xfrm>
            <a:off x="894902" y="4228899"/>
            <a:ext cx="1619250" cy="1620837"/>
          </a:xfrm>
          <a:solidFill>
            <a:schemeClr val="accent3"/>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33" name="Text Placeholder 8">
            <a:extLst>
              <a:ext uri="{FF2B5EF4-FFF2-40B4-BE49-F238E27FC236}">
                <a16:creationId xmlns:a16="http://schemas.microsoft.com/office/drawing/2014/main" id="{58637F3E-D3A2-5843-8C13-7A19B6547B2F}"/>
              </a:ext>
            </a:extLst>
          </p:cNvPr>
          <p:cNvSpPr>
            <a:spLocks noGrp="1"/>
          </p:cNvSpPr>
          <p:nvPr>
            <p:ph type="body" sz="quarter" idx="20"/>
          </p:nvPr>
        </p:nvSpPr>
        <p:spPr>
          <a:xfrm>
            <a:off x="2514152" y="4228899"/>
            <a:ext cx="3325812" cy="1631950"/>
          </a:xfrm>
          <a:solidFill>
            <a:srgbClr val="FFFFFF"/>
          </a:solidFill>
        </p:spPr>
        <p:txBody>
          <a:bodyPr lIns="144000" anchor="ctr">
            <a:normAutofit/>
          </a:bodyPr>
          <a:lstStyle>
            <a:lvl1pPr>
              <a:lnSpc>
                <a:spcPct val="113000"/>
              </a:lnSpc>
              <a:spcBef>
                <a:spcPts val="600"/>
              </a:spcBef>
              <a:defRPr sz="1200"/>
            </a:lvl1pPr>
          </a:lstStyle>
          <a:p>
            <a:pPr lvl="0"/>
            <a:r>
              <a:rPr lang="en-US"/>
              <a:t>Click to edit Master text styles</a:t>
            </a:r>
          </a:p>
        </p:txBody>
      </p:sp>
      <p:sp>
        <p:nvSpPr>
          <p:cNvPr id="34" name="Text Placeholder 5">
            <a:extLst>
              <a:ext uri="{FF2B5EF4-FFF2-40B4-BE49-F238E27FC236}">
                <a16:creationId xmlns:a16="http://schemas.microsoft.com/office/drawing/2014/main" id="{E4598565-8C42-B044-AD08-83142014992C}"/>
              </a:ext>
            </a:extLst>
          </p:cNvPr>
          <p:cNvSpPr>
            <a:spLocks noGrp="1"/>
          </p:cNvSpPr>
          <p:nvPr>
            <p:ph type="body" sz="quarter" idx="21" hasCustomPrompt="1"/>
          </p:nvPr>
        </p:nvSpPr>
        <p:spPr>
          <a:xfrm>
            <a:off x="6418359" y="4228899"/>
            <a:ext cx="1619250" cy="1620837"/>
          </a:xfrm>
          <a:solidFill>
            <a:schemeClr val="accent2"/>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35" name="Text Placeholder 8">
            <a:extLst>
              <a:ext uri="{FF2B5EF4-FFF2-40B4-BE49-F238E27FC236}">
                <a16:creationId xmlns:a16="http://schemas.microsoft.com/office/drawing/2014/main" id="{51A94D39-B1DF-A242-804B-B3A21AEBBB12}"/>
              </a:ext>
            </a:extLst>
          </p:cNvPr>
          <p:cNvSpPr>
            <a:spLocks noGrp="1"/>
          </p:cNvSpPr>
          <p:nvPr>
            <p:ph type="body" sz="quarter" idx="22"/>
          </p:nvPr>
        </p:nvSpPr>
        <p:spPr>
          <a:xfrm>
            <a:off x="8037609" y="4228899"/>
            <a:ext cx="3325812" cy="1631950"/>
          </a:xfrm>
          <a:solidFill>
            <a:srgbClr val="FFFFFF"/>
          </a:solidFill>
        </p:spPr>
        <p:txBody>
          <a:bodyPr lIns="144000" anchor="ctr">
            <a:normAutofit/>
          </a:bodyPr>
          <a:lstStyle>
            <a:lvl1pPr>
              <a:lnSpc>
                <a:spcPct val="113000"/>
              </a:lnSpc>
              <a:spcBef>
                <a:spcPts val="600"/>
              </a:spcBef>
              <a:defRPr sz="1200"/>
            </a:lvl1pPr>
          </a:lstStyle>
          <a:p>
            <a:pPr lvl="0"/>
            <a:r>
              <a:rPr lang="en-US"/>
              <a:t>Click to edit Master text styles</a:t>
            </a:r>
          </a:p>
        </p:txBody>
      </p:sp>
      <p:sp>
        <p:nvSpPr>
          <p:cNvPr id="36" name="Title 2">
            <a:extLst>
              <a:ext uri="{FF2B5EF4-FFF2-40B4-BE49-F238E27FC236}">
                <a16:creationId xmlns:a16="http://schemas.microsoft.com/office/drawing/2014/main" id="{C91086CA-3C0F-0A4D-A0B9-810F5AE62379}"/>
              </a:ext>
            </a:extLst>
          </p:cNvPr>
          <p:cNvSpPr>
            <a:spLocks noGrp="1"/>
          </p:cNvSpPr>
          <p:nvPr>
            <p:ph type="title" hasCustomPrompt="1"/>
          </p:nvPr>
        </p:nvSpPr>
        <p:spPr>
          <a:xfrm>
            <a:off x="334841" y="300381"/>
            <a:ext cx="11501793"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Tree>
    <p:extLst>
      <p:ext uri="{BB962C8B-B14F-4D97-AF65-F5344CB8AC3E}">
        <p14:creationId xmlns:p14="http://schemas.microsoft.com/office/powerpoint/2010/main" val="8668640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ive poi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0E39FA9-E932-3849-8B98-8113E4DDDD5C}"/>
              </a:ext>
            </a:extLst>
          </p:cNvPr>
          <p:cNvSpPr/>
          <p:nvPr userDrawn="1"/>
        </p:nvSpPr>
        <p:spPr>
          <a:xfrm>
            <a:off x="0" y="0"/>
            <a:ext cx="12192000" cy="64531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a typeface="Oswald Light" charset="0"/>
              <a:cs typeface="Oswald Light" charset="0"/>
            </a:endParaRP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6" name="Text Placeholder 5">
            <a:extLst>
              <a:ext uri="{FF2B5EF4-FFF2-40B4-BE49-F238E27FC236}">
                <a16:creationId xmlns:a16="http://schemas.microsoft.com/office/drawing/2014/main" id="{9868E1F1-158B-DE48-ADBD-CD21049AD5F5}"/>
              </a:ext>
            </a:extLst>
          </p:cNvPr>
          <p:cNvSpPr>
            <a:spLocks noGrp="1"/>
          </p:cNvSpPr>
          <p:nvPr>
            <p:ph type="body" sz="quarter" idx="15" hasCustomPrompt="1"/>
          </p:nvPr>
        </p:nvSpPr>
        <p:spPr>
          <a:xfrm>
            <a:off x="670560" y="1965953"/>
            <a:ext cx="1869427" cy="1871259"/>
          </a:xfrm>
          <a:solidFill>
            <a:schemeClr val="bg2"/>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9" name="Text Placeholder 8">
            <a:extLst>
              <a:ext uri="{FF2B5EF4-FFF2-40B4-BE49-F238E27FC236}">
                <a16:creationId xmlns:a16="http://schemas.microsoft.com/office/drawing/2014/main" id="{D7B05700-6A59-CE4A-B6A1-3F4CA605A9BC}"/>
              </a:ext>
            </a:extLst>
          </p:cNvPr>
          <p:cNvSpPr>
            <a:spLocks noGrp="1"/>
          </p:cNvSpPr>
          <p:nvPr>
            <p:ph type="body" sz="quarter" idx="16"/>
          </p:nvPr>
        </p:nvSpPr>
        <p:spPr>
          <a:xfrm>
            <a:off x="670560" y="3828845"/>
            <a:ext cx="1869420" cy="419318"/>
          </a:xfrm>
          <a:solidFill>
            <a:srgbClr val="FFFFFF"/>
          </a:solidFill>
        </p:spPr>
        <p:txBody>
          <a:bodyPr lIns="144000" tIns="108000" rIns="144000" bIns="108000" anchor="ctr">
            <a:spAutoFit/>
          </a:bodyPr>
          <a:lstStyle>
            <a:lvl1pPr algn="l">
              <a:lnSpc>
                <a:spcPct val="120000"/>
              </a:lnSpc>
              <a:spcBef>
                <a:spcPts val="600"/>
              </a:spcBef>
              <a:defRPr sz="1200"/>
            </a:lvl1pPr>
          </a:lstStyle>
          <a:p>
            <a:pPr lvl="0"/>
            <a:r>
              <a:rPr lang="en-US"/>
              <a:t>Click to edit Master text styles</a:t>
            </a:r>
          </a:p>
        </p:txBody>
      </p:sp>
      <p:sp>
        <p:nvSpPr>
          <p:cNvPr id="36" name="Text Placeholder 5">
            <a:extLst>
              <a:ext uri="{FF2B5EF4-FFF2-40B4-BE49-F238E27FC236}">
                <a16:creationId xmlns:a16="http://schemas.microsoft.com/office/drawing/2014/main" id="{5255BF60-1996-984A-9500-560D1D48329E}"/>
              </a:ext>
            </a:extLst>
          </p:cNvPr>
          <p:cNvSpPr>
            <a:spLocks noGrp="1"/>
          </p:cNvSpPr>
          <p:nvPr>
            <p:ph type="body" sz="quarter" idx="17" hasCustomPrompt="1"/>
          </p:nvPr>
        </p:nvSpPr>
        <p:spPr>
          <a:xfrm>
            <a:off x="2915923" y="1965953"/>
            <a:ext cx="1869427" cy="1871259"/>
          </a:xfrm>
          <a:solidFill>
            <a:schemeClr val="tx2"/>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37" name="Text Placeholder 8">
            <a:extLst>
              <a:ext uri="{FF2B5EF4-FFF2-40B4-BE49-F238E27FC236}">
                <a16:creationId xmlns:a16="http://schemas.microsoft.com/office/drawing/2014/main" id="{0BE6B7A5-9F71-BE45-A099-23E8E6AF838A}"/>
              </a:ext>
            </a:extLst>
          </p:cNvPr>
          <p:cNvSpPr>
            <a:spLocks noGrp="1"/>
          </p:cNvSpPr>
          <p:nvPr>
            <p:ph type="body" sz="quarter" idx="18"/>
          </p:nvPr>
        </p:nvSpPr>
        <p:spPr>
          <a:xfrm>
            <a:off x="2915917" y="3828845"/>
            <a:ext cx="1869428" cy="419318"/>
          </a:xfrm>
          <a:solidFill>
            <a:srgbClr val="FFFFFF"/>
          </a:solidFill>
        </p:spPr>
        <p:txBody>
          <a:bodyPr lIns="144000" tIns="108000" rIns="144000" bIns="108000" anchor="ctr">
            <a:spAutoFit/>
          </a:bodyPr>
          <a:lstStyle>
            <a:lvl1pPr algn="l">
              <a:lnSpc>
                <a:spcPct val="120000"/>
              </a:lnSpc>
              <a:spcBef>
                <a:spcPts val="600"/>
              </a:spcBef>
              <a:defRPr sz="1200"/>
            </a:lvl1pPr>
          </a:lstStyle>
          <a:p>
            <a:pPr lvl="0"/>
            <a:r>
              <a:rPr lang="en-US"/>
              <a:t>Click to edit Master text styles</a:t>
            </a:r>
          </a:p>
        </p:txBody>
      </p:sp>
      <p:sp>
        <p:nvSpPr>
          <p:cNvPr id="38" name="Text Placeholder 5">
            <a:extLst>
              <a:ext uri="{FF2B5EF4-FFF2-40B4-BE49-F238E27FC236}">
                <a16:creationId xmlns:a16="http://schemas.microsoft.com/office/drawing/2014/main" id="{A36786A9-C7CD-544E-83C6-E769CB107E05}"/>
              </a:ext>
            </a:extLst>
          </p:cNvPr>
          <p:cNvSpPr>
            <a:spLocks noGrp="1"/>
          </p:cNvSpPr>
          <p:nvPr>
            <p:ph type="body" sz="quarter" idx="19" hasCustomPrompt="1"/>
          </p:nvPr>
        </p:nvSpPr>
        <p:spPr>
          <a:xfrm>
            <a:off x="5161286" y="1965953"/>
            <a:ext cx="1869427" cy="1871259"/>
          </a:xfrm>
          <a:solidFill>
            <a:schemeClr val="accent2"/>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39" name="Text Placeholder 8">
            <a:extLst>
              <a:ext uri="{FF2B5EF4-FFF2-40B4-BE49-F238E27FC236}">
                <a16:creationId xmlns:a16="http://schemas.microsoft.com/office/drawing/2014/main" id="{8B1D4BAB-DF5A-284C-AF87-2FED736817E8}"/>
              </a:ext>
            </a:extLst>
          </p:cNvPr>
          <p:cNvSpPr>
            <a:spLocks noGrp="1"/>
          </p:cNvSpPr>
          <p:nvPr>
            <p:ph type="body" sz="quarter" idx="20"/>
          </p:nvPr>
        </p:nvSpPr>
        <p:spPr>
          <a:xfrm>
            <a:off x="5161282" y="3828845"/>
            <a:ext cx="1869428" cy="419318"/>
          </a:xfrm>
          <a:solidFill>
            <a:srgbClr val="FFFFFF"/>
          </a:solidFill>
        </p:spPr>
        <p:txBody>
          <a:bodyPr lIns="144000" tIns="108000" rIns="144000" bIns="108000" anchor="ctr">
            <a:spAutoFit/>
          </a:bodyPr>
          <a:lstStyle>
            <a:lvl1pPr algn="l">
              <a:lnSpc>
                <a:spcPct val="120000"/>
              </a:lnSpc>
              <a:spcBef>
                <a:spcPts val="600"/>
              </a:spcBef>
              <a:defRPr sz="1200"/>
            </a:lvl1pPr>
          </a:lstStyle>
          <a:p>
            <a:pPr lvl="0"/>
            <a:r>
              <a:rPr lang="en-US"/>
              <a:t>Click to edit Master text styles</a:t>
            </a:r>
          </a:p>
        </p:txBody>
      </p:sp>
      <p:sp>
        <p:nvSpPr>
          <p:cNvPr id="40" name="Text Placeholder 5">
            <a:extLst>
              <a:ext uri="{FF2B5EF4-FFF2-40B4-BE49-F238E27FC236}">
                <a16:creationId xmlns:a16="http://schemas.microsoft.com/office/drawing/2014/main" id="{6EE053C5-E75F-2747-AB36-A416D5BBF69E}"/>
              </a:ext>
            </a:extLst>
          </p:cNvPr>
          <p:cNvSpPr>
            <a:spLocks noGrp="1"/>
          </p:cNvSpPr>
          <p:nvPr>
            <p:ph type="body" sz="quarter" idx="21" hasCustomPrompt="1"/>
          </p:nvPr>
        </p:nvSpPr>
        <p:spPr>
          <a:xfrm>
            <a:off x="7406649" y="1965953"/>
            <a:ext cx="1869427" cy="1871259"/>
          </a:xfrm>
          <a:solidFill>
            <a:schemeClr val="accent3"/>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41" name="Text Placeholder 8">
            <a:extLst>
              <a:ext uri="{FF2B5EF4-FFF2-40B4-BE49-F238E27FC236}">
                <a16:creationId xmlns:a16="http://schemas.microsoft.com/office/drawing/2014/main" id="{6F7FAD5F-DC12-974D-95AB-7732469BE907}"/>
              </a:ext>
            </a:extLst>
          </p:cNvPr>
          <p:cNvSpPr>
            <a:spLocks noGrp="1"/>
          </p:cNvSpPr>
          <p:nvPr>
            <p:ph type="body" sz="quarter" idx="22"/>
          </p:nvPr>
        </p:nvSpPr>
        <p:spPr>
          <a:xfrm>
            <a:off x="7406647" y="3828845"/>
            <a:ext cx="1869428" cy="419318"/>
          </a:xfrm>
          <a:solidFill>
            <a:srgbClr val="FFFFFF"/>
          </a:solidFill>
        </p:spPr>
        <p:txBody>
          <a:bodyPr lIns="144000" tIns="108000" rIns="144000" bIns="108000" anchor="ctr">
            <a:spAutoFit/>
          </a:bodyPr>
          <a:lstStyle>
            <a:lvl1pPr algn="l">
              <a:lnSpc>
                <a:spcPct val="120000"/>
              </a:lnSpc>
              <a:spcBef>
                <a:spcPts val="600"/>
              </a:spcBef>
              <a:defRPr sz="1200"/>
            </a:lvl1pPr>
          </a:lstStyle>
          <a:p>
            <a:pPr lvl="0"/>
            <a:r>
              <a:rPr lang="en-US"/>
              <a:t>Click to edit Master text styles</a:t>
            </a:r>
          </a:p>
        </p:txBody>
      </p:sp>
      <p:sp>
        <p:nvSpPr>
          <p:cNvPr id="42" name="Text Placeholder 5">
            <a:extLst>
              <a:ext uri="{FF2B5EF4-FFF2-40B4-BE49-F238E27FC236}">
                <a16:creationId xmlns:a16="http://schemas.microsoft.com/office/drawing/2014/main" id="{AEB7BABA-DA05-574D-809C-2F8F74D65943}"/>
              </a:ext>
            </a:extLst>
          </p:cNvPr>
          <p:cNvSpPr>
            <a:spLocks noGrp="1"/>
          </p:cNvSpPr>
          <p:nvPr>
            <p:ph type="body" sz="quarter" idx="23" hasCustomPrompt="1"/>
          </p:nvPr>
        </p:nvSpPr>
        <p:spPr>
          <a:xfrm>
            <a:off x="9652013" y="1965953"/>
            <a:ext cx="1869427" cy="1871259"/>
          </a:xfrm>
          <a:solidFill>
            <a:schemeClr val="accent1"/>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43" name="Text Placeholder 8">
            <a:extLst>
              <a:ext uri="{FF2B5EF4-FFF2-40B4-BE49-F238E27FC236}">
                <a16:creationId xmlns:a16="http://schemas.microsoft.com/office/drawing/2014/main" id="{16E36A08-9B23-3B4E-AA69-EF3A86344E1A}"/>
              </a:ext>
            </a:extLst>
          </p:cNvPr>
          <p:cNvSpPr>
            <a:spLocks noGrp="1"/>
          </p:cNvSpPr>
          <p:nvPr>
            <p:ph type="body" sz="quarter" idx="24"/>
          </p:nvPr>
        </p:nvSpPr>
        <p:spPr>
          <a:xfrm>
            <a:off x="9652012" y="3828845"/>
            <a:ext cx="1869426" cy="419318"/>
          </a:xfrm>
          <a:solidFill>
            <a:srgbClr val="FFFFFF"/>
          </a:solidFill>
        </p:spPr>
        <p:txBody>
          <a:bodyPr lIns="144000" tIns="108000" rIns="144000" bIns="108000" anchor="ctr">
            <a:spAutoFit/>
          </a:bodyPr>
          <a:lstStyle>
            <a:lvl1pPr algn="l">
              <a:lnSpc>
                <a:spcPct val="120000"/>
              </a:lnSpc>
              <a:spcBef>
                <a:spcPts val="600"/>
              </a:spcBef>
              <a:defRPr sz="1200"/>
            </a:lvl1pPr>
          </a:lstStyle>
          <a:p>
            <a:pPr lvl="0"/>
            <a:r>
              <a:rPr lang="en-US"/>
              <a:t>Click to edit Master text styles</a:t>
            </a:r>
          </a:p>
        </p:txBody>
      </p:sp>
      <p:sp>
        <p:nvSpPr>
          <p:cNvPr id="34" name="Title 2">
            <a:extLst>
              <a:ext uri="{FF2B5EF4-FFF2-40B4-BE49-F238E27FC236}">
                <a16:creationId xmlns:a16="http://schemas.microsoft.com/office/drawing/2014/main" id="{D3DE849D-5FB3-B74F-84C1-8AFB30A2A8EB}"/>
              </a:ext>
            </a:extLst>
          </p:cNvPr>
          <p:cNvSpPr>
            <a:spLocks noGrp="1"/>
          </p:cNvSpPr>
          <p:nvPr>
            <p:ph type="title" hasCustomPrompt="1"/>
          </p:nvPr>
        </p:nvSpPr>
        <p:spPr>
          <a:xfrm>
            <a:off x="334841" y="300381"/>
            <a:ext cx="11501793"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Tree>
    <p:extLst>
      <p:ext uri="{BB962C8B-B14F-4D97-AF65-F5344CB8AC3E}">
        <p14:creationId xmlns:p14="http://schemas.microsoft.com/office/powerpoint/2010/main" val="40688832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Front Cover">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12191999" cy="6448636"/>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5" name="Text Placeholder 4">
            <a:extLst>
              <a:ext uri="{FF2B5EF4-FFF2-40B4-BE49-F238E27FC236}">
                <a16:creationId xmlns:a16="http://schemas.microsoft.com/office/drawing/2014/main" id="{7A970589-A288-D94E-9439-0C2AF5DCBDD4}"/>
              </a:ext>
            </a:extLst>
          </p:cNvPr>
          <p:cNvSpPr>
            <a:spLocks noGrp="1"/>
          </p:cNvSpPr>
          <p:nvPr>
            <p:ph type="body" sz="quarter" idx="15" hasCustomPrompt="1"/>
          </p:nvPr>
        </p:nvSpPr>
        <p:spPr>
          <a:xfrm>
            <a:off x="334840" y="2097025"/>
            <a:ext cx="11522320" cy="1962784"/>
          </a:xfrm>
        </p:spPr>
        <p:txBody>
          <a:bodyPr anchor="ctr">
            <a:normAutofit/>
          </a:bodyPr>
          <a:lstStyle>
            <a:lvl1pPr algn="ctr">
              <a:defRPr sz="10000" b="1" i="0" spc="-150">
                <a:solidFill>
                  <a:schemeClr val="bg1"/>
                </a:solidFill>
                <a:latin typeface="Oswald" pitchFamily="2" charset="77"/>
              </a:defRPr>
            </a:lvl1pPr>
          </a:lstStyle>
          <a:p>
            <a:pPr lvl="0"/>
            <a:r>
              <a:rPr lang="en-US" dirty="0"/>
              <a:t>THANK YOU</a:t>
            </a:r>
          </a:p>
        </p:txBody>
      </p:sp>
      <p:sp>
        <p:nvSpPr>
          <p:cNvPr id="32" name="Text Placeholder 4">
            <a:extLst>
              <a:ext uri="{FF2B5EF4-FFF2-40B4-BE49-F238E27FC236}">
                <a16:creationId xmlns:a16="http://schemas.microsoft.com/office/drawing/2014/main" id="{75CAAF07-9B83-7A4D-8B8D-8BAA0BA0E8A5}"/>
              </a:ext>
            </a:extLst>
          </p:cNvPr>
          <p:cNvSpPr>
            <a:spLocks noGrp="1"/>
          </p:cNvSpPr>
          <p:nvPr>
            <p:ph type="body" sz="quarter" idx="16" hasCustomPrompt="1"/>
          </p:nvPr>
        </p:nvSpPr>
        <p:spPr>
          <a:xfrm>
            <a:off x="987552" y="3736784"/>
            <a:ext cx="10241280" cy="646050"/>
          </a:xfrm>
        </p:spPr>
        <p:txBody>
          <a:bodyPr anchor="ctr">
            <a:normAutofit/>
          </a:bodyPr>
          <a:lstStyle>
            <a:lvl1pPr algn="ctr">
              <a:defRPr sz="2200" b="0" i="0">
                <a:solidFill>
                  <a:schemeClr val="bg1"/>
                </a:solidFill>
                <a:latin typeface="Arial" panose="020B0604020202020204" pitchFamily="34" charset="0"/>
                <a:cs typeface="Arial" panose="020B0604020202020204" pitchFamily="34" charset="0"/>
              </a:defRPr>
            </a:lvl1pPr>
          </a:lstStyle>
          <a:p>
            <a:pPr lvl="0"/>
            <a:r>
              <a:rPr lang="en-US" dirty="0"/>
              <a:t>Any questions?</a:t>
            </a:r>
          </a:p>
        </p:txBody>
      </p:sp>
    </p:spTree>
    <p:extLst>
      <p:ext uri="{BB962C8B-B14F-4D97-AF65-F5344CB8AC3E}">
        <p14:creationId xmlns:p14="http://schemas.microsoft.com/office/powerpoint/2010/main" val="40261433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Image and Title_01_White">
    <p:spTree>
      <p:nvGrpSpPr>
        <p:cNvPr id="1" name=""/>
        <p:cNvGrpSpPr/>
        <p:nvPr/>
      </p:nvGrpSpPr>
      <p:grpSpPr>
        <a:xfrm>
          <a:off x="0" y="0"/>
          <a:ext cx="0" cy="0"/>
          <a:chOff x="0" y="0"/>
          <a:chExt cx="0" cy="0"/>
        </a:xfrm>
      </p:grpSpPr>
      <p:sp>
        <p:nvSpPr>
          <p:cNvPr id="4" name="Rectangle 3"/>
          <p:cNvSpPr/>
          <p:nvPr userDrawn="1"/>
        </p:nvSpPr>
        <p:spPr>
          <a:xfrm>
            <a:off x="0" y="0"/>
            <a:ext cx="4260851" cy="6858000"/>
          </a:xfrm>
          <a:prstGeom prst="rect">
            <a:avLst/>
          </a:prstGeom>
          <a:solidFill>
            <a:schemeClr val="tx1">
              <a:lumMod val="25000"/>
              <a:lumOff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4" name="Content Placeholder 2"/>
          <p:cNvSpPr>
            <a:spLocks noGrp="1"/>
          </p:cNvSpPr>
          <p:nvPr>
            <p:ph idx="1"/>
          </p:nvPr>
        </p:nvSpPr>
        <p:spPr>
          <a:xfrm>
            <a:off x="4785000" y="3070304"/>
            <a:ext cx="5833611" cy="2825337"/>
          </a:xfrm>
          <a:prstGeom prst="rect">
            <a:avLst/>
          </a:prstGeom>
        </p:spPr>
        <p:txBody>
          <a:bodyPr>
            <a:normAutofit/>
          </a:bodyPr>
          <a:lstStyle>
            <a:lvl1pPr>
              <a:defRPr lang="en-US" sz="1333" dirty="0">
                <a:solidFill>
                  <a:schemeClr val="tx1"/>
                </a:solidFill>
              </a:defRPr>
            </a:lvl1pPr>
          </a:lstStyle>
          <a:p>
            <a:pPr marL="0" lvl="0" indent="0">
              <a:lnSpc>
                <a:spcPct val="120000"/>
              </a:lnSpc>
              <a:buNone/>
            </a:pPr>
            <a:r>
              <a:rPr lang="en-US" dirty="0"/>
              <a:t>Click to edit Master text styles</a:t>
            </a:r>
          </a:p>
        </p:txBody>
      </p:sp>
      <p:grpSp>
        <p:nvGrpSpPr>
          <p:cNvPr id="25" name="Group 24"/>
          <p:cNvGrpSpPr>
            <a:grpSpLocks/>
          </p:cNvGrpSpPr>
          <p:nvPr userDrawn="1"/>
        </p:nvGrpSpPr>
        <p:grpSpPr bwMode="auto">
          <a:xfrm>
            <a:off x="10447601" y="6542561"/>
            <a:ext cx="1610784" cy="201084"/>
            <a:chOff x="20638" y="3136900"/>
            <a:chExt cx="10080625" cy="1268413"/>
          </a:xfrm>
        </p:grpSpPr>
        <p:sp>
          <p:nvSpPr>
            <p:cNvPr id="26" name="Freeform 1"/>
            <p:cNvSpPr>
              <a:spLocks noChangeArrowheads="1"/>
            </p:cNvSpPr>
            <p:nvPr/>
          </p:nvSpPr>
          <p:spPr bwMode="auto">
            <a:xfrm>
              <a:off x="8087788" y="3136900"/>
              <a:ext cx="2013475" cy="1241710"/>
            </a:xfrm>
            <a:custGeom>
              <a:avLst/>
              <a:gdLst>
                <a:gd name="T0" fmla="*/ 4671 w 5590"/>
                <a:gd name="T1" fmla="*/ 986 h 3468"/>
                <a:gd name="T2" fmla="*/ 4671 w 5590"/>
                <a:gd name="T3" fmla="*/ 986 h 3468"/>
                <a:gd name="T4" fmla="*/ 4070 w 5590"/>
                <a:gd name="T5" fmla="*/ 986 h 3468"/>
                <a:gd name="T6" fmla="*/ 4070 w 5590"/>
                <a:gd name="T7" fmla="*/ 0 h 3468"/>
                <a:gd name="T8" fmla="*/ 3333 w 5590"/>
                <a:gd name="T9" fmla="*/ 0 h 3468"/>
                <a:gd name="T10" fmla="*/ 3038 w 5590"/>
                <a:gd name="T11" fmla="*/ 544 h 3468"/>
                <a:gd name="T12" fmla="*/ 2732 w 5590"/>
                <a:gd name="T13" fmla="*/ 0 h 3468"/>
                <a:gd name="T14" fmla="*/ 2006 w 5590"/>
                <a:gd name="T15" fmla="*/ 0 h 3468"/>
                <a:gd name="T16" fmla="*/ 2006 w 5590"/>
                <a:gd name="T17" fmla="*/ 1337 h 3468"/>
                <a:gd name="T18" fmla="*/ 1236 w 5590"/>
                <a:gd name="T19" fmla="*/ 1076 h 3468"/>
                <a:gd name="T20" fmla="*/ 352 w 5590"/>
                <a:gd name="T21" fmla="*/ 1428 h 3468"/>
                <a:gd name="T22" fmla="*/ 91 w 5590"/>
                <a:gd name="T23" fmla="*/ 1812 h 3468"/>
                <a:gd name="T24" fmla="*/ 0 w 5590"/>
                <a:gd name="T25" fmla="*/ 2277 h 3468"/>
                <a:gd name="T26" fmla="*/ 0 w 5590"/>
                <a:gd name="T27" fmla="*/ 2277 h 3468"/>
                <a:gd name="T28" fmla="*/ 352 w 5590"/>
                <a:gd name="T29" fmla="*/ 3127 h 3468"/>
                <a:gd name="T30" fmla="*/ 1236 w 5590"/>
                <a:gd name="T31" fmla="*/ 3467 h 3468"/>
                <a:gd name="T32" fmla="*/ 2108 w 5590"/>
                <a:gd name="T33" fmla="*/ 3116 h 3468"/>
                <a:gd name="T34" fmla="*/ 2369 w 5590"/>
                <a:gd name="T35" fmla="*/ 2742 h 3468"/>
                <a:gd name="T36" fmla="*/ 2460 w 5590"/>
                <a:gd name="T37" fmla="*/ 2277 h 3468"/>
                <a:gd name="T38" fmla="*/ 2460 w 5590"/>
                <a:gd name="T39" fmla="*/ 2266 h 3468"/>
                <a:gd name="T40" fmla="*/ 2369 w 5590"/>
                <a:gd name="T41" fmla="*/ 1812 h 3468"/>
                <a:gd name="T42" fmla="*/ 2641 w 5590"/>
                <a:gd name="T43" fmla="*/ 1812 h 3468"/>
                <a:gd name="T44" fmla="*/ 2641 w 5590"/>
                <a:gd name="T45" fmla="*/ 1076 h 3468"/>
                <a:gd name="T46" fmla="*/ 3038 w 5590"/>
                <a:gd name="T47" fmla="*/ 1643 h 3468"/>
                <a:gd name="T48" fmla="*/ 3423 w 5590"/>
                <a:gd name="T49" fmla="*/ 1076 h 3468"/>
                <a:gd name="T50" fmla="*/ 3423 w 5590"/>
                <a:gd name="T51" fmla="*/ 1812 h 3468"/>
                <a:gd name="T52" fmla="*/ 4070 w 5590"/>
                <a:gd name="T53" fmla="*/ 1812 h 3468"/>
                <a:gd name="T54" fmla="*/ 4070 w 5590"/>
                <a:gd name="T55" fmla="*/ 2549 h 3468"/>
                <a:gd name="T56" fmla="*/ 4648 w 5590"/>
                <a:gd name="T57" fmla="*/ 2549 h 3468"/>
                <a:gd name="T58" fmla="*/ 5589 w 5590"/>
                <a:gd name="T59" fmla="*/ 1757 h 3468"/>
                <a:gd name="T60" fmla="*/ 5589 w 5590"/>
                <a:gd name="T61" fmla="*/ 1757 h 3468"/>
                <a:gd name="T62" fmla="*/ 4671 w 5590"/>
                <a:gd name="T63" fmla="*/ 986 h 3468"/>
                <a:gd name="T64" fmla="*/ 1621 w 5590"/>
                <a:gd name="T65" fmla="*/ 2277 h 3468"/>
                <a:gd name="T66" fmla="*/ 1621 w 5590"/>
                <a:gd name="T67" fmla="*/ 2277 h 3468"/>
                <a:gd name="T68" fmla="*/ 1236 w 5590"/>
                <a:gd name="T69" fmla="*/ 2685 h 3468"/>
                <a:gd name="T70" fmla="*/ 839 w 5590"/>
                <a:gd name="T71" fmla="*/ 2277 h 3468"/>
                <a:gd name="T72" fmla="*/ 839 w 5590"/>
                <a:gd name="T73" fmla="*/ 2266 h 3468"/>
                <a:gd name="T74" fmla="*/ 1236 w 5590"/>
                <a:gd name="T75" fmla="*/ 1858 h 3468"/>
                <a:gd name="T76" fmla="*/ 1621 w 5590"/>
                <a:gd name="T77" fmla="*/ 2277 h 3468"/>
                <a:gd name="T78" fmla="*/ 4671 w 5590"/>
                <a:gd name="T79" fmla="*/ 986 h 3468"/>
                <a:gd name="T80" fmla="*/ 5033 w 5590"/>
                <a:gd name="T81" fmla="*/ 1767 h 3468"/>
                <a:gd name="T82" fmla="*/ 5033 w 5590"/>
                <a:gd name="T83" fmla="*/ 1767 h 3468"/>
                <a:gd name="T84" fmla="*/ 4693 w 5590"/>
                <a:gd name="T85" fmla="*/ 2039 h 3468"/>
                <a:gd name="T86" fmla="*/ 4625 w 5590"/>
                <a:gd name="T87" fmla="*/ 2039 h 3468"/>
                <a:gd name="T88" fmla="*/ 4625 w 5590"/>
                <a:gd name="T89" fmla="*/ 1484 h 3468"/>
                <a:gd name="T90" fmla="*/ 4693 w 5590"/>
                <a:gd name="T91" fmla="*/ 1484 h 3468"/>
                <a:gd name="T92" fmla="*/ 5033 w 5590"/>
                <a:gd name="T93" fmla="*/ 1767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0" h="3468">
                  <a:moveTo>
                    <a:pt x="4671" y="986"/>
                  </a:moveTo>
                  <a:lnTo>
                    <a:pt x="4671" y="986"/>
                  </a:lnTo>
                  <a:cubicBezTo>
                    <a:pt x="4070" y="986"/>
                    <a:pt x="4070" y="986"/>
                    <a:pt x="4070" y="986"/>
                  </a:cubicBezTo>
                  <a:cubicBezTo>
                    <a:pt x="4070" y="0"/>
                    <a:pt x="4070" y="0"/>
                    <a:pt x="4070" y="0"/>
                  </a:cubicBezTo>
                  <a:cubicBezTo>
                    <a:pt x="3333" y="0"/>
                    <a:pt x="3333" y="0"/>
                    <a:pt x="3333" y="0"/>
                  </a:cubicBezTo>
                  <a:cubicBezTo>
                    <a:pt x="3038" y="544"/>
                    <a:pt x="3038" y="544"/>
                    <a:pt x="3038" y="544"/>
                  </a:cubicBezTo>
                  <a:cubicBezTo>
                    <a:pt x="2732" y="0"/>
                    <a:pt x="2732" y="0"/>
                    <a:pt x="2732" y="0"/>
                  </a:cubicBezTo>
                  <a:cubicBezTo>
                    <a:pt x="2006" y="0"/>
                    <a:pt x="2006" y="0"/>
                    <a:pt x="2006" y="0"/>
                  </a:cubicBezTo>
                  <a:cubicBezTo>
                    <a:pt x="2006" y="1337"/>
                    <a:pt x="2006" y="1337"/>
                    <a:pt x="2006" y="1337"/>
                  </a:cubicBezTo>
                  <a:cubicBezTo>
                    <a:pt x="1791" y="1167"/>
                    <a:pt x="1519" y="1076"/>
                    <a:pt x="1236" y="1076"/>
                  </a:cubicBezTo>
                  <a:cubicBezTo>
                    <a:pt x="896" y="1076"/>
                    <a:pt x="590" y="1201"/>
                    <a:pt x="352" y="1428"/>
                  </a:cubicBezTo>
                  <a:cubicBezTo>
                    <a:pt x="238" y="1541"/>
                    <a:pt x="159" y="1666"/>
                    <a:pt x="91" y="1812"/>
                  </a:cubicBezTo>
                  <a:cubicBezTo>
                    <a:pt x="34" y="1960"/>
                    <a:pt x="0" y="2107"/>
                    <a:pt x="0" y="2277"/>
                  </a:cubicBezTo>
                  <a:lnTo>
                    <a:pt x="0" y="2277"/>
                  </a:lnTo>
                  <a:cubicBezTo>
                    <a:pt x="0" y="2606"/>
                    <a:pt x="125" y="2901"/>
                    <a:pt x="352" y="3127"/>
                  </a:cubicBezTo>
                  <a:cubicBezTo>
                    <a:pt x="578" y="3342"/>
                    <a:pt x="896" y="3467"/>
                    <a:pt x="1236" y="3467"/>
                  </a:cubicBezTo>
                  <a:cubicBezTo>
                    <a:pt x="1564" y="3467"/>
                    <a:pt x="1882" y="3342"/>
                    <a:pt x="2108" y="3116"/>
                  </a:cubicBezTo>
                  <a:cubicBezTo>
                    <a:pt x="2222" y="3014"/>
                    <a:pt x="2313" y="2878"/>
                    <a:pt x="2369" y="2742"/>
                  </a:cubicBezTo>
                  <a:cubicBezTo>
                    <a:pt x="2426" y="2594"/>
                    <a:pt x="2460" y="2436"/>
                    <a:pt x="2460" y="2277"/>
                  </a:cubicBezTo>
                  <a:cubicBezTo>
                    <a:pt x="2460" y="2266"/>
                    <a:pt x="2460" y="2266"/>
                    <a:pt x="2460" y="2266"/>
                  </a:cubicBezTo>
                  <a:cubicBezTo>
                    <a:pt x="2460" y="2107"/>
                    <a:pt x="2437" y="1960"/>
                    <a:pt x="2369" y="1812"/>
                  </a:cubicBezTo>
                  <a:cubicBezTo>
                    <a:pt x="2641" y="1812"/>
                    <a:pt x="2641" y="1812"/>
                    <a:pt x="2641" y="1812"/>
                  </a:cubicBezTo>
                  <a:cubicBezTo>
                    <a:pt x="2641" y="1076"/>
                    <a:pt x="2641" y="1076"/>
                    <a:pt x="2641" y="1076"/>
                  </a:cubicBezTo>
                  <a:cubicBezTo>
                    <a:pt x="3038" y="1643"/>
                    <a:pt x="3038" y="1643"/>
                    <a:pt x="3038" y="1643"/>
                  </a:cubicBezTo>
                  <a:cubicBezTo>
                    <a:pt x="3423" y="1076"/>
                    <a:pt x="3423" y="1076"/>
                    <a:pt x="3423" y="1076"/>
                  </a:cubicBezTo>
                  <a:cubicBezTo>
                    <a:pt x="3423" y="1812"/>
                    <a:pt x="3423" y="1812"/>
                    <a:pt x="3423" y="1812"/>
                  </a:cubicBezTo>
                  <a:cubicBezTo>
                    <a:pt x="4070" y="1812"/>
                    <a:pt x="4070" y="1812"/>
                    <a:pt x="4070" y="1812"/>
                  </a:cubicBezTo>
                  <a:cubicBezTo>
                    <a:pt x="4070" y="2549"/>
                    <a:pt x="4070" y="2549"/>
                    <a:pt x="4070" y="2549"/>
                  </a:cubicBezTo>
                  <a:cubicBezTo>
                    <a:pt x="4648" y="2549"/>
                    <a:pt x="4648" y="2549"/>
                    <a:pt x="4648" y="2549"/>
                  </a:cubicBezTo>
                  <a:cubicBezTo>
                    <a:pt x="5282" y="2549"/>
                    <a:pt x="5589" y="2209"/>
                    <a:pt x="5589" y="1757"/>
                  </a:cubicBezTo>
                  <a:lnTo>
                    <a:pt x="5589" y="1757"/>
                  </a:lnTo>
                  <a:cubicBezTo>
                    <a:pt x="5589" y="1360"/>
                    <a:pt x="5294" y="986"/>
                    <a:pt x="4671" y="986"/>
                  </a:cubicBezTo>
                  <a:lnTo>
                    <a:pt x="1621" y="2277"/>
                  </a:lnTo>
                  <a:lnTo>
                    <a:pt x="1621" y="2277"/>
                  </a:lnTo>
                  <a:cubicBezTo>
                    <a:pt x="1621" y="2493"/>
                    <a:pt x="1485" y="2685"/>
                    <a:pt x="1236" y="2685"/>
                  </a:cubicBezTo>
                  <a:cubicBezTo>
                    <a:pt x="975" y="2685"/>
                    <a:pt x="839" y="2493"/>
                    <a:pt x="839" y="2277"/>
                  </a:cubicBezTo>
                  <a:cubicBezTo>
                    <a:pt x="839" y="2266"/>
                    <a:pt x="839" y="2266"/>
                    <a:pt x="839" y="2266"/>
                  </a:cubicBezTo>
                  <a:cubicBezTo>
                    <a:pt x="839" y="2062"/>
                    <a:pt x="975" y="1858"/>
                    <a:pt x="1236" y="1858"/>
                  </a:cubicBezTo>
                  <a:cubicBezTo>
                    <a:pt x="1485" y="1858"/>
                    <a:pt x="1621" y="2062"/>
                    <a:pt x="1621" y="2277"/>
                  </a:cubicBezTo>
                  <a:lnTo>
                    <a:pt x="4671" y="986"/>
                  </a:lnTo>
                  <a:close/>
                  <a:moveTo>
                    <a:pt x="5033" y="1767"/>
                  </a:moveTo>
                  <a:lnTo>
                    <a:pt x="5033" y="1767"/>
                  </a:lnTo>
                  <a:cubicBezTo>
                    <a:pt x="5033" y="1960"/>
                    <a:pt x="4897" y="2039"/>
                    <a:pt x="4693" y="2039"/>
                  </a:cubicBezTo>
                  <a:cubicBezTo>
                    <a:pt x="4625" y="2039"/>
                    <a:pt x="4625" y="2039"/>
                    <a:pt x="4625" y="2039"/>
                  </a:cubicBezTo>
                  <a:cubicBezTo>
                    <a:pt x="4625" y="1484"/>
                    <a:pt x="4625" y="1484"/>
                    <a:pt x="4625" y="1484"/>
                  </a:cubicBezTo>
                  <a:cubicBezTo>
                    <a:pt x="4693" y="1484"/>
                    <a:pt x="4693" y="1484"/>
                    <a:pt x="4693" y="1484"/>
                  </a:cubicBezTo>
                  <a:cubicBezTo>
                    <a:pt x="4897" y="1484"/>
                    <a:pt x="5033" y="1575"/>
                    <a:pt x="5033" y="1767"/>
                  </a:cubicBezTo>
                  <a:close/>
                </a:path>
              </a:pathLst>
            </a:custGeom>
            <a:solidFill>
              <a:srgbClr val="E5001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28" name="Freeform 2"/>
            <p:cNvSpPr>
              <a:spLocks noChangeArrowheads="1"/>
            </p:cNvSpPr>
            <p:nvPr/>
          </p:nvSpPr>
          <p:spPr bwMode="auto">
            <a:xfrm>
              <a:off x="20638" y="3430637"/>
              <a:ext cx="675578" cy="654236"/>
            </a:xfrm>
            <a:custGeom>
              <a:avLst/>
              <a:gdLst>
                <a:gd name="T0" fmla="*/ 1746 w 1883"/>
                <a:gd name="T1" fmla="*/ 0 h 1803"/>
                <a:gd name="T2" fmla="*/ 1746 w 1883"/>
                <a:gd name="T3" fmla="*/ 0 h 1803"/>
                <a:gd name="T4" fmla="*/ 1882 w 1883"/>
                <a:gd name="T5" fmla="*/ 1802 h 1803"/>
                <a:gd name="T6" fmla="*/ 1700 w 1883"/>
                <a:gd name="T7" fmla="*/ 1802 h 1803"/>
                <a:gd name="T8" fmla="*/ 1621 w 1883"/>
                <a:gd name="T9" fmla="*/ 680 h 1803"/>
                <a:gd name="T10" fmla="*/ 1598 w 1883"/>
                <a:gd name="T11" fmla="*/ 193 h 1803"/>
                <a:gd name="T12" fmla="*/ 1598 w 1883"/>
                <a:gd name="T13" fmla="*/ 193 h 1803"/>
                <a:gd name="T14" fmla="*/ 1451 w 1883"/>
                <a:gd name="T15" fmla="*/ 657 h 1803"/>
                <a:gd name="T16" fmla="*/ 1020 w 1883"/>
                <a:gd name="T17" fmla="*/ 1802 h 1803"/>
                <a:gd name="T18" fmla="*/ 862 w 1883"/>
                <a:gd name="T19" fmla="*/ 1802 h 1803"/>
                <a:gd name="T20" fmla="*/ 442 w 1883"/>
                <a:gd name="T21" fmla="*/ 657 h 1803"/>
                <a:gd name="T22" fmla="*/ 283 w 1883"/>
                <a:gd name="T23" fmla="*/ 193 h 1803"/>
                <a:gd name="T24" fmla="*/ 283 w 1883"/>
                <a:gd name="T25" fmla="*/ 193 h 1803"/>
                <a:gd name="T26" fmla="*/ 260 w 1883"/>
                <a:gd name="T27" fmla="*/ 657 h 1803"/>
                <a:gd name="T28" fmla="*/ 181 w 1883"/>
                <a:gd name="T29" fmla="*/ 1802 h 1803"/>
                <a:gd name="T30" fmla="*/ 0 w 1883"/>
                <a:gd name="T31" fmla="*/ 1802 h 1803"/>
                <a:gd name="T32" fmla="*/ 147 w 1883"/>
                <a:gd name="T33" fmla="*/ 0 h 1803"/>
                <a:gd name="T34" fmla="*/ 385 w 1883"/>
                <a:gd name="T35" fmla="*/ 0 h 1803"/>
                <a:gd name="T36" fmla="*/ 793 w 1883"/>
                <a:gd name="T37" fmla="*/ 1121 h 1803"/>
                <a:gd name="T38" fmla="*/ 941 w 1883"/>
                <a:gd name="T39" fmla="*/ 1575 h 1803"/>
                <a:gd name="T40" fmla="*/ 941 w 1883"/>
                <a:gd name="T41" fmla="*/ 1575 h 1803"/>
                <a:gd name="T42" fmla="*/ 1099 w 1883"/>
                <a:gd name="T43" fmla="*/ 1133 h 1803"/>
                <a:gd name="T44" fmla="*/ 1508 w 1883"/>
                <a:gd name="T45" fmla="*/ 0 h 1803"/>
                <a:gd name="T46" fmla="*/ 1746 w 1883"/>
                <a:gd name="T47" fmla="*/ 0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83" h="1803">
                  <a:moveTo>
                    <a:pt x="1746" y="0"/>
                  </a:moveTo>
                  <a:lnTo>
                    <a:pt x="1746" y="0"/>
                  </a:lnTo>
                  <a:cubicBezTo>
                    <a:pt x="1882" y="1802"/>
                    <a:pt x="1882" y="1802"/>
                    <a:pt x="1882" y="1802"/>
                  </a:cubicBezTo>
                  <a:cubicBezTo>
                    <a:pt x="1700" y="1802"/>
                    <a:pt x="1700" y="1802"/>
                    <a:pt x="1700" y="1802"/>
                  </a:cubicBezTo>
                  <a:cubicBezTo>
                    <a:pt x="1621" y="680"/>
                    <a:pt x="1621" y="680"/>
                    <a:pt x="1621" y="680"/>
                  </a:cubicBezTo>
                  <a:cubicBezTo>
                    <a:pt x="1610" y="521"/>
                    <a:pt x="1610" y="295"/>
                    <a:pt x="1598" y="193"/>
                  </a:cubicBezTo>
                  <a:lnTo>
                    <a:pt x="1598" y="193"/>
                  </a:lnTo>
                  <a:cubicBezTo>
                    <a:pt x="1575" y="295"/>
                    <a:pt x="1508" y="510"/>
                    <a:pt x="1451" y="657"/>
                  </a:cubicBezTo>
                  <a:cubicBezTo>
                    <a:pt x="1020" y="1802"/>
                    <a:pt x="1020" y="1802"/>
                    <a:pt x="1020" y="1802"/>
                  </a:cubicBezTo>
                  <a:cubicBezTo>
                    <a:pt x="862" y="1802"/>
                    <a:pt x="862" y="1802"/>
                    <a:pt x="862" y="1802"/>
                  </a:cubicBezTo>
                  <a:cubicBezTo>
                    <a:pt x="442" y="657"/>
                    <a:pt x="442" y="657"/>
                    <a:pt x="442" y="657"/>
                  </a:cubicBezTo>
                  <a:cubicBezTo>
                    <a:pt x="374" y="488"/>
                    <a:pt x="306" y="284"/>
                    <a:pt x="283" y="193"/>
                  </a:cubicBezTo>
                  <a:lnTo>
                    <a:pt x="283" y="193"/>
                  </a:lnTo>
                  <a:cubicBezTo>
                    <a:pt x="283" y="238"/>
                    <a:pt x="272" y="510"/>
                    <a:pt x="260" y="657"/>
                  </a:cubicBezTo>
                  <a:cubicBezTo>
                    <a:pt x="181" y="1802"/>
                    <a:pt x="181" y="1802"/>
                    <a:pt x="181" y="1802"/>
                  </a:cubicBezTo>
                  <a:cubicBezTo>
                    <a:pt x="0" y="1802"/>
                    <a:pt x="0" y="1802"/>
                    <a:pt x="0" y="1802"/>
                  </a:cubicBezTo>
                  <a:cubicBezTo>
                    <a:pt x="147" y="0"/>
                    <a:pt x="147" y="0"/>
                    <a:pt x="147" y="0"/>
                  </a:cubicBezTo>
                  <a:cubicBezTo>
                    <a:pt x="385" y="0"/>
                    <a:pt x="385" y="0"/>
                    <a:pt x="385" y="0"/>
                  </a:cubicBezTo>
                  <a:cubicBezTo>
                    <a:pt x="793" y="1121"/>
                    <a:pt x="793" y="1121"/>
                    <a:pt x="793" y="1121"/>
                  </a:cubicBezTo>
                  <a:cubicBezTo>
                    <a:pt x="850" y="1291"/>
                    <a:pt x="895" y="1450"/>
                    <a:pt x="941" y="1575"/>
                  </a:cubicBezTo>
                  <a:lnTo>
                    <a:pt x="941" y="1575"/>
                  </a:lnTo>
                  <a:cubicBezTo>
                    <a:pt x="986" y="1427"/>
                    <a:pt x="1043" y="1280"/>
                    <a:pt x="1099" y="1133"/>
                  </a:cubicBezTo>
                  <a:cubicBezTo>
                    <a:pt x="1508" y="0"/>
                    <a:pt x="1508" y="0"/>
                    <a:pt x="1508" y="0"/>
                  </a:cubicBezTo>
                  <a:lnTo>
                    <a:pt x="1746" y="0"/>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29" name="Freeform 3"/>
            <p:cNvSpPr>
              <a:spLocks noChangeArrowheads="1"/>
            </p:cNvSpPr>
            <p:nvPr/>
          </p:nvSpPr>
          <p:spPr bwMode="auto">
            <a:xfrm>
              <a:off x="828681" y="3617560"/>
              <a:ext cx="370903" cy="480660"/>
            </a:xfrm>
            <a:custGeom>
              <a:avLst/>
              <a:gdLst>
                <a:gd name="T0" fmla="*/ 124 w 1021"/>
                <a:gd name="T1" fmla="*/ 283 h 1326"/>
                <a:gd name="T2" fmla="*/ 124 w 1021"/>
                <a:gd name="T3" fmla="*/ 283 h 1326"/>
                <a:gd name="T4" fmla="*/ 79 w 1021"/>
                <a:gd name="T5" fmla="*/ 147 h 1326"/>
                <a:gd name="T6" fmla="*/ 578 w 1021"/>
                <a:gd name="T7" fmla="*/ 0 h 1326"/>
                <a:gd name="T8" fmla="*/ 997 w 1021"/>
                <a:gd name="T9" fmla="*/ 419 h 1326"/>
                <a:gd name="T10" fmla="*/ 997 w 1021"/>
                <a:gd name="T11" fmla="*/ 1008 h 1326"/>
                <a:gd name="T12" fmla="*/ 1020 w 1021"/>
                <a:gd name="T13" fmla="*/ 1303 h 1326"/>
                <a:gd name="T14" fmla="*/ 861 w 1021"/>
                <a:gd name="T15" fmla="*/ 1303 h 1326"/>
                <a:gd name="T16" fmla="*/ 827 w 1021"/>
                <a:gd name="T17" fmla="*/ 1132 h 1326"/>
                <a:gd name="T18" fmla="*/ 396 w 1021"/>
                <a:gd name="T19" fmla="*/ 1325 h 1326"/>
                <a:gd name="T20" fmla="*/ 0 w 1021"/>
                <a:gd name="T21" fmla="*/ 940 h 1326"/>
                <a:gd name="T22" fmla="*/ 601 w 1021"/>
                <a:gd name="T23" fmla="*/ 520 h 1326"/>
                <a:gd name="T24" fmla="*/ 827 w 1021"/>
                <a:gd name="T25" fmla="*/ 543 h 1326"/>
                <a:gd name="T26" fmla="*/ 827 w 1021"/>
                <a:gd name="T27" fmla="*/ 431 h 1326"/>
                <a:gd name="T28" fmla="*/ 555 w 1021"/>
                <a:gd name="T29" fmla="*/ 147 h 1326"/>
                <a:gd name="T30" fmla="*/ 124 w 1021"/>
                <a:gd name="T31" fmla="*/ 283 h 1326"/>
                <a:gd name="T32" fmla="*/ 827 w 1021"/>
                <a:gd name="T33" fmla="*/ 668 h 1326"/>
                <a:gd name="T34" fmla="*/ 827 w 1021"/>
                <a:gd name="T35" fmla="*/ 668 h 1326"/>
                <a:gd name="T36" fmla="*/ 601 w 1021"/>
                <a:gd name="T37" fmla="*/ 645 h 1326"/>
                <a:gd name="T38" fmla="*/ 170 w 1021"/>
                <a:gd name="T39" fmla="*/ 928 h 1326"/>
                <a:gd name="T40" fmla="*/ 419 w 1021"/>
                <a:gd name="T41" fmla="*/ 1189 h 1326"/>
                <a:gd name="T42" fmla="*/ 827 w 1021"/>
                <a:gd name="T43" fmla="*/ 996 h 1326"/>
                <a:gd name="T44" fmla="*/ 827 w 1021"/>
                <a:gd name="T45" fmla="*/ 668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1" h="1326">
                  <a:moveTo>
                    <a:pt x="124" y="283"/>
                  </a:moveTo>
                  <a:lnTo>
                    <a:pt x="124" y="283"/>
                  </a:lnTo>
                  <a:cubicBezTo>
                    <a:pt x="79" y="147"/>
                    <a:pt x="79" y="147"/>
                    <a:pt x="79" y="147"/>
                  </a:cubicBezTo>
                  <a:cubicBezTo>
                    <a:pt x="204" y="68"/>
                    <a:pt x="385" y="0"/>
                    <a:pt x="578" y="0"/>
                  </a:cubicBezTo>
                  <a:cubicBezTo>
                    <a:pt x="839" y="0"/>
                    <a:pt x="997" y="113"/>
                    <a:pt x="997" y="419"/>
                  </a:cubicBezTo>
                  <a:cubicBezTo>
                    <a:pt x="997" y="1008"/>
                    <a:pt x="997" y="1008"/>
                    <a:pt x="997" y="1008"/>
                  </a:cubicBezTo>
                  <a:cubicBezTo>
                    <a:pt x="997" y="1200"/>
                    <a:pt x="1008" y="1268"/>
                    <a:pt x="1020" y="1303"/>
                  </a:cubicBezTo>
                  <a:cubicBezTo>
                    <a:pt x="861" y="1303"/>
                    <a:pt x="861" y="1303"/>
                    <a:pt x="861" y="1303"/>
                  </a:cubicBezTo>
                  <a:cubicBezTo>
                    <a:pt x="839" y="1280"/>
                    <a:pt x="827" y="1234"/>
                    <a:pt x="827" y="1132"/>
                  </a:cubicBezTo>
                  <a:cubicBezTo>
                    <a:pt x="714" y="1257"/>
                    <a:pt x="555" y="1325"/>
                    <a:pt x="396" y="1325"/>
                  </a:cubicBezTo>
                  <a:cubicBezTo>
                    <a:pt x="170" y="1325"/>
                    <a:pt x="0" y="1200"/>
                    <a:pt x="0" y="940"/>
                  </a:cubicBezTo>
                  <a:cubicBezTo>
                    <a:pt x="0" y="679"/>
                    <a:pt x="193" y="520"/>
                    <a:pt x="601" y="520"/>
                  </a:cubicBezTo>
                  <a:cubicBezTo>
                    <a:pt x="657" y="520"/>
                    <a:pt x="725" y="520"/>
                    <a:pt x="827" y="543"/>
                  </a:cubicBezTo>
                  <a:cubicBezTo>
                    <a:pt x="827" y="431"/>
                    <a:pt x="827" y="431"/>
                    <a:pt x="827" y="431"/>
                  </a:cubicBezTo>
                  <a:cubicBezTo>
                    <a:pt x="827" y="227"/>
                    <a:pt x="737" y="147"/>
                    <a:pt x="555" y="147"/>
                  </a:cubicBezTo>
                  <a:cubicBezTo>
                    <a:pt x="396" y="147"/>
                    <a:pt x="260" y="204"/>
                    <a:pt x="124" y="283"/>
                  </a:cubicBezTo>
                  <a:close/>
                  <a:moveTo>
                    <a:pt x="827" y="668"/>
                  </a:moveTo>
                  <a:lnTo>
                    <a:pt x="827" y="668"/>
                  </a:lnTo>
                  <a:cubicBezTo>
                    <a:pt x="725" y="656"/>
                    <a:pt x="668" y="645"/>
                    <a:pt x="601" y="645"/>
                  </a:cubicBezTo>
                  <a:cubicBezTo>
                    <a:pt x="295" y="645"/>
                    <a:pt x="170" y="747"/>
                    <a:pt x="170" y="928"/>
                  </a:cubicBezTo>
                  <a:cubicBezTo>
                    <a:pt x="170" y="1098"/>
                    <a:pt x="272" y="1189"/>
                    <a:pt x="419" y="1189"/>
                  </a:cubicBezTo>
                  <a:cubicBezTo>
                    <a:pt x="578" y="1189"/>
                    <a:pt x="714" y="1098"/>
                    <a:pt x="827" y="996"/>
                  </a:cubicBezTo>
                  <a:lnTo>
                    <a:pt x="827" y="668"/>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0" name="Freeform 4"/>
            <p:cNvSpPr>
              <a:spLocks noChangeArrowheads="1"/>
            </p:cNvSpPr>
            <p:nvPr/>
          </p:nvSpPr>
          <p:spPr bwMode="auto">
            <a:xfrm>
              <a:off x="1345293" y="3617560"/>
              <a:ext cx="370903" cy="467313"/>
            </a:xfrm>
            <a:custGeom>
              <a:avLst/>
              <a:gdLst>
                <a:gd name="T0" fmla="*/ 0 w 1033"/>
                <a:gd name="T1" fmla="*/ 34 h 1304"/>
                <a:gd name="T2" fmla="*/ 0 w 1033"/>
                <a:gd name="T3" fmla="*/ 34 h 1304"/>
                <a:gd name="T4" fmla="*/ 170 w 1033"/>
                <a:gd name="T5" fmla="*/ 34 h 1304"/>
                <a:gd name="T6" fmla="*/ 170 w 1033"/>
                <a:gd name="T7" fmla="*/ 227 h 1304"/>
                <a:gd name="T8" fmla="*/ 680 w 1033"/>
                <a:gd name="T9" fmla="*/ 0 h 1304"/>
                <a:gd name="T10" fmla="*/ 1032 w 1033"/>
                <a:gd name="T11" fmla="*/ 351 h 1304"/>
                <a:gd name="T12" fmla="*/ 1032 w 1033"/>
                <a:gd name="T13" fmla="*/ 1303 h 1304"/>
                <a:gd name="T14" fmla="*/ 862 w 1033"/>
                <a:gd name="T15" fmla="*/ 1303 h 1304"/>
                <a:gd name="T16" fmla="*/ 862 w 1033"/>
                <a:gd name="T17" fmla="*/ 385 h 1304"/>
                <a:gd name="T18" fmla="*/ 635 w 1033"/>
                <a:gd name="T19" fmla="*/ 158 h 1304"/>
                <a:gd name="T20" fmla="*/ 170 w 1033"/>
                <a:gd name="T21" fmla="*/ 374 h 1304"/>
                <a:gd name="T22" fmla="*/ 170 w 1033"/>
                <a:gd name="T23" fmla="*/ 1303 h 1304"/>
                <a:gd name="T24" fmla="*/ 0 w 1033"/>
                <a:gd name="T25" fmla="*/ 1303 h 1304"/>
                <a:gd name="T26" fmla="*/ 0 w 1033"/>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3" h="1304">
                  <a:moveTo>
                    <a:pt x="0" y="34"/>
                  </a:moveTo>
                  <a:lnTo>
                    <a:pt x="0" y="34"/>
                  </a:lnTo>
                  <a:cubicBezTo>
                    <a:pt x="170" y="34"/>
                    <a:pt x="170" y="34"/>
                    <a:pt x="170" y="34"/>
                  </a:cubicBezTo>
                  <a:cubicBezTo>
                    <a:pt x="170" y="227"/>
                    <a:pt x="170" y="227"/>
                    <a:pt x="170" y="227"/>
                  </a:cubicBezTo>
                  <a:cubicBezTo>
                    <a:pt x="295" y="102"/>
                    <a:pt x="477" y="0"/>
                    <a:pt x="680" y="0"/>
                  </a:cubicBezTo>
                  <a:cubicBezTo>
                    <a:pt x="873" y="0"/>
                    <a:pt x="1032" y="91"/>
                    <a:pt x="1032" y="351"/>
                  </a:cubicBezTo>
                  <a:cubicBezTo>
                    <a:pt x="1032" y="1303"/>
                    <a:pt x="1032" y="1303"/>
                    <a:pt x="1032" y="1303"/>
                  </a:cubicBezTo>
                  <a:cubicBezTo>
                    <a:pt x="862" y="1303"/>
                    <a:pt x="862" y="1303"/>
                    <a:pt x="862" y="1303"/>
                  </a:cubicBezTo>
                  <a:cubicBezTo>
                    <a:pt x="862" y="385"/>
                    <a:pt x="862" y="385"/>
                    <a:pt x="862" y="385"/>
                  </a:cubicBezTo>
                  <a:cubicBezTo>
                    <a:pt x="862" y="215"/>
                    <a:pt x="771" y="158"/>
                    <a:pt x="635" y="158"/>
                  </a:cubicBezTo>
                  <a:cubicBezTo>
                    <a:pt x="465" y="158"/>
                    <a:pt x="307" y="261"/>
                    <a:pt x="170" y="374"/>
                  </a:cubicBezTo>
                  <a:cubicBezTo>
                    <a:pt x="170" y="1303"/>
                    <a:pt x="170" y="1303"/>
                    <a:pt x="170"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1" name="Freeform 5"/>
            <p:cNvSpPr>
              <a:spLocks noChangeArrowheads="1"/>
            </p:cNvSpPr>
            <p:nvPr/>
          </p:nvSpPr>
          <p:spPr bwMode="auto">
            <a:xfrm>
              <a:off x="1888405" y="3617560"/>
              <a:ext cx="370903" cy="467313"/>
            </a:xfrm>
            <a:custGeom>
              <a:avLst/>
              <a:gdLst>
                <a:gd name="T0" fmla="*/ 0 w 1021"/>
                <a:gd name="T1" fmla="*/ 34 h 1304"/>
                <a:gd name="T2" fmla="*/ 0 w 1021"/>
                <a:gd name="T3" fmla="*/ 34 h 1304"/>
                <a:gd name="T4" fmla="*/ 171 w 1021"/>
                <a:gd name="T5" fmla="*/ 34 h 1304"/>
                <a:gd name="T6" fmla="*/ 171 w 1021"/>
                <a:gd name="T7" fmla="*/ 227 h 1304"/>
                <a:gd name="T8" fmla="*/ 681 w 1021"/>
                <a:gd name="T9" fmla="*/ 0 h 1304"/>
                <a:gd name="T10" fmla="*/ 1020 w 1021"/>
                <a:gd name="T11" fmla="*/ 351 h 1304"/>
                <a:gd name="T12" fmla="*/ 1020 w 1021"/>
                <a:gd name="T13" fmla="*/ 1303 h 1304"/>
                <a:gd name="T14" fmla="*/ 850 w 1021"/>
                <a:gd name="T15" fmla="*/ 1303 h 1304"/>
                <a:gd name="T16" fmla="*/ 850 w 1021"/>
                <a:gd name="T17" fmla="*/ 385 h 1304"/>
                <a:gd name="T18" fmla="*/ 635 w 1021"/>
                <a:gd name="T19" fmla="*/ 158 h 1304"/>
                <a:gd name="T20" fmla="*/ 171 w 1021"/>
                <a:gd name="T21" fmla="*/ 374 h 1304"/>
                <a:gd name="T22" fmla="*/ 171 w 1021"/>
                <a:gd name="T23" fmla="*/ 1303 h 1304"/>
                <a:gd name="T24" fmla="*/ 0 w 1021"/>
                <a:gd name="T25" fmla="*/ 1303 h 1304"/>
                <a:gd name="T26" fmla="*/ 0 w 1021"/>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1" h="1304">
                  <a:moveTo>
                    <a:pt x="0" y="34"/>
                  </a:moveTo>
                  <a:lnTo>
                    <a:pt x="0" y="34"/>
                  </a:lnTo>
                  <a:cubicBezTo>
                    <a:pt x="171" y="34"/>
                    <a:pt x="171" y="34"/>
                    <a:pt x="171" y="34"/>
                  </a:cubicBezTo>
                  <a:cubicBezTo>
                    <a:pt x="171" y="227"/>
                    <a:pt x="171" y="227"/>
                    <a:pt x="171" y="227"/>
                  </a:cubicBezTo>
                  <a:cubicBezTo>
                    <a:pt x="295" y="102"/>
                    <a:pt x="465" y="0"/>
                    <a:pt x="681" y="0"/>
                  </a:cubicBezTo>
                  <a:cubicBezTo>
                    <a:pt x="862" y="0"/>
                    <a:pt x="1020" y="91"/>
                    <a:pt x="1020" y="351"/>
                  </a:cubicBezTo>
                  <a:cubicBezTo>
                    <a:pt x="1020" y="1303"/>
                    <a:pt x="1020" y="1303"/>
                    <a:pt x="1020" y="1303"/>
                  </a:cubicBezTo>
                  <a:cubicBezTo>
                    <a:pt x="850" y="1303"/>
                    <a:pt x="850" y="1303"/>
                    <a:pt x="850" y="1303"/>
                  </a:cubicBezTo>
                  <a:cubicBezTo>
                    <a:pt x="850" y="385"/>
                    <a:pt x="850" y="385"/>
                    <a:pt x="850" y="385"/>
                  </a:cubicBezTo>
                  <a:cubicBezTo>
                    <a:pt x="850" y="215"/>
                    <a:pt x="760" y="158"/>
                    <a:pt x="635" y="158"/>
                  </a:cubicBezTo>
                  <a:cubicBezTo>
                    <a:pt x="454" y="158"/>
                    <a:pt x="295" y="261"/>
                    <a:pt x="171" y="374"/>
                  </a:cubicBezTo>
                  <a:cubicBezTo>
                    <a:pt x="171" y="1303"/>
                    <a:pt x="171" y="1303"/>
                    <a:pt x="171"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2" name="Freeform 6"/>
            <p:cNvSpPr>
              <a:spLocks noChangeArrowheads="1"/>
            </p:cNvSpPr>
            <p:nvPr/>
          </p:nvSpPr>
          <p:spPr bwMode="auto">
            <a:xfrm>
              <a:off x="2418267" y="3457340"/>
              <a:ext cx="79479" cy="627533"/>
            </a:xfrm>
            <a:custGeom>
              <a:avLst/>
              <a:gdLst>
                <a:gd name="T0" fmla="*/ 113 w 227"/>
                <a:gd name="T1" fmla="*/ 227 h 1746"/>
                <a:gd name="T2" fmla="*/ 113 w 227"/>
                <a:gd name="T3" fmla="*/ 227 h 1746"/>
                <a:gd name="T4" fmla="*/ 0 w 227"/>
                <a:gd name="T5" fmla="*/ 113 h 1746"/>
                <a:gd name="T6" fmla="*/ 113 w 227"/>
                <a:gd name="T7" fmla="*/ 0 h 1746"/>
                <a:gd name="T8" fmla="*/ 226 w 227"/>
                <a:gd name="T9" fmla="*/ 113 h 1746"/>
                <a:gd name="T10" fmla="*/ 113 w 227"/>
                <a:gd name="T11" fmla="*/ 227 h 1746"/>
                <a:gd name="T12" fmla="*/ 23 w 227"/>
                <a:gd name="T13" fmla="*/ 476 h 1746"/>
                <a:gd name="T14" fmla="*/ 23 w 227"/>
                <a:gd name="T15" fmla="*/ 476 h 1746"/>
                <a:gd name="T16" fmla="*/ 192 w 227"/>
                <a:gd name="T17" fmla="*/ 476 h 1746"/>
                <a:gd name="T18" fmla="*/ 192 w 227"/>
                <a:gd name="T19" fmla="*/ 1745 h 1746"/>
                <a:gd name="T20" fmla="*/ 23 w 227"/>
                <a:gd name="T21" fmla="*/ 1745 h 1746"/>
                <a:gd name="T22" fmla="*/ 23 w 227"/>
                <a:gd name="T23" fmla="*/ 47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746">
                  <a:moveTo>
                    <a:pt x="113" y="227"/>
                  </a:moveTo>
                  <a:lnTo>
                    <a:pt x="113" y="227"/>
                  </a:lnTo>
                  <a:cubicBezTo>
                    <a:pt x="45" y="227"/>
                    <a:pt x="0" y="181"/>
                    <a:pt x="0" y="113"/>
                  </a:cubicBezTo>
                  <a:cubicBezTo>
                    <a:pt x="0" y="45"/>
                    <a:pt x="45" y="0"/>
                    <a:pt x="113" y="0"/>
                  </a:cubicBezTo>
                  <a:cubicBezTo>
                    <a:pt x="181" y="0"/>
                    <a:pt x="226" y="45"/>
                    <a:pt x="226" y="113"/>
                  </a:cubicBezTo>
                  <a:cubicBezTo>
                    <a:pt x="226" y="181"/>
                    <a:pt x="181" y="227"/>
                    <a:pt x="113" y="227"/>
                  </a:cubicBezTo>
                  <a:close/>
                  <a:moveTo>
                    <a:pt x="23" y="476"/>
                  </a:moveTo>
                  <a:lnTo>
                    <a:pt x="23" y="476"/>
                  </a:lnTo>
                  <a:cubicBezTo>
                    <a:pt x="192" y="476"/>
                    <a:pt x="192" y="476"/>
                    <a:pt x="192" y="476"/>
                  </a:cubicBezTo>
                  <a:cubicBezTo>
                    <a:pt x="192" y="1745"/>
                    <a:pt x="192" y="1745"/>
                    <a:pt x="192" y="1745"/>
                  </a:cubicBezTo>
                  <a:cubicBezTo>
                    <a:pt x="23" y="1745"/>
                    <a:pt x="23" y="1745"/>
                    <a:pt x="23" y="1745"/>
                  </a:cubicBezTo>
                  <a:lnTo>
                    <a:pt x="23" y="476"/>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3" name="Freeform 7"/>
            <p:cNvSpPr>
              <a:spLocks noChangeArrowheads="1"/>
            </p:cNvSpPr>
            <p:nvPr/>
          </p:nvSpPr>
          <p:spPr bwMode="auto">
            <a:xfrm>
              <a:off x="2656705" y="3617560"/>
              <a:ext cx="370903" cy="467313"/>
            </a:xfrm>
            <a:custGeom>
              <a:avLst/>
              <a:gdLst>
                <a:gd name="T0" fmla="*/ 0 w 1032"/>
                <a:gd name="T1" fmla="*/ 34 h 1304"/>
                <a:gd name="T2" fmla="*/ 0 w 1032"/>
                <a:gd name="T3" fmla="*/ 34 h 1304"/>
                <a:gd name="T4" fmla="*/ 181 w 1032"/>
                <a:gd name="T5" fmla="*/ 34 h 1304"/>
                <a:gd name="T6" fmla="*/ 181 w 1032"/>
                <a:gd name="T7" fmla="*/ 227 h 1304"/>
                <a:gd name="T8" fmla="*/ 691 w 1032"/>
                <a:gd name="T9" fmla="*/ 0 h 1304"/>
                <a:gd name="T10" fmla="*/ 1031 w 1032"/>
                <a:gd name="T11" fmla="*/ 351 h 1304"/>
                <a:gd name="T12" fmla="*/ 1031 w 1032"/>
                <a:gd name="T13" fmla="*/ 1303 h 1304"/>
                <a:gd name="T14" fmla="*/ 861 w 1032"/>
                <a:gd name="T15" fmla="*/ 1303 h 1304"/>
                <a:gd name="T16" fmla="*/ 861 w 1032"/>
                <a:gd name="T17" fmla="*/ 385 h 1304"/>
                <a:gd name="T18" fmla="*/ 634 w 1032"/>
                <a:gd name="T19" fmla="*/ 158 h 1304"/>
                <a:gd name="T20" fmla="*/ 181 w 1032"/>
                <a:gd name="T21" fmla="*/ 374 h 1304"/>
                <a:gd name="T22" fmla="*/ 181 w 1032"/>
                <a:gd name="T23" fmla="*/ 1303 h 1304"/>
                <a:gd name="T24" fmla="*/ 0 w 1032"/>
                <a:gd name="T25" fmla="*/ 1303 h 1304"/>
                <a:gd name="T26" fmla="*/ 0 w 1032"/>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2" h="1304">
                  <a:moveTo>
                    <a:pt x="0" y="34"/>
                  </a:moveTo>
                  <a:lnTo>
                    <a:pt x="0" y="34"/>
                  </a:lnTo>
                  <a:cubicBezTo>
                    <a:pt x="181" y="34"/>
                    <a:pt x="181" y="34"/>
                    <a:pt x="181" y="34"/>
                  </a:cubicBezTo>
                  <a:cubicBezTo>
                    <a:pt x="181" y="227"/>
                    <a:pt x="181" y="227"/>
                    <a:pt x="181" y="227"/>
                  </a:cubicBezTo>
                  <a:cubicBezTo>
                    <a:pt x="294" y="102"/>
                    <a:pt x="476" y="0"/>
                    <a:pt x="691" y="0"/>
                  </a:cubicBezTo>
                  <a:cubicBezTo>
                    <a:pt x="872" y="0"/>
                    <a:pt x="1031" y="91"/>
                    <a:pt x="1031" y="351"/>
                  </a:cubicBezTo>
                  <a:cubicBezTo>
                    <a:pt x="1031" y="1303"/>
                    <a:pt x="1031" y="1303"/>
                    <a:pt x="1031" y="1303"/>
                  </a:cubicBezTo>
                  <a:cubicBezTo>
                    <a:pt x="861" y="1303"/>
                    <a:pt x="861" y="1303"/>
                    <a:pt x="861" y="1303"/>
                  </a:cubicBezTo>
                  <a:cubicBezTo>
                    <a:pt x="861" y="385"/>
                    <a:pt x="861" y="385"/>
                    <a:pt x="861" y="385"/>
                  </a:cubicBezTo>
                  <a:cubicBezTo>
                    <a:pt x="861" y="215"/>
                    <a:pt x="770" y="158"/>
                    <a:pt x="634" y="158"/>
                  </a:cubicBezTo>
                  <a:cubicBezTo>
                    <a:pt x="464" y="158"/>
                    <a:pt x="306" y="261"/>
                    <a:pt x="181" y="374"/>
                  </a:cubicBezTo>
                  <a:cubicBezTo>
                    <a:pt x="181" y="1303"/>
                    <a:pt x="181" y="1303"/>
                    <a:pt x="181"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4" name="Freeform 8"/>
            <p:cNvSpPr>
              <a:spLocks noChangeArrowheads="1"/>
            </p:cNvSpPr>
            <p:nvPr/>
          </p:nvSpPr>
          <p:spPr bwMode="auto">
            <a:xfrm>
              <a:off x="3133580" y="3617560"/>
              <a:ext cx="476876" cy="667584"/>
            </a:xfrm>
            <a:custGeom>
              <a:avLst/>
              <a:gdLst>
                <a:gd name="T0" fmla="*/ 612 w 1328"/>
                <a:gd name="T1" fmla="*/ 906 h 1859"/>
                <a:gd name="T2" fmla="*/ 612 w 1328"/>
                <a:gd name="T3" fmla="*/ 906 h 1859"/>
                <a:gd name="T4" fmla="*/ 386 w 1328"/>
                <a:gd name="T5" fmla="*/ 860 h 1859"/>
                <a:gd name="T6" fmla="*/ 295 w 1328"/>
                <a:gd name="T7" fmla="*/ 996 h 1859"/>
                <a:gd name="T8" fmla="*/ 533 w 1328"/>
                <a:gd name="T9" fmla="*/ 1110 h 1859"/>
                <a:gd name="T10" fmla="*/ 828 w 1328"/>
                <a:gd name="T11" fmla="*/ 1110 h 1859"/>
                <a:gd name="T12" fmla="*/ 1258 w 1328"/>
                <a:gd name="T13" fmla="*/ 1427 h 1859"/>
                <a:gd name="T14" fmla="*/ 556 w 1328"/>
                <a:gd name="T15" fmla="*/ 1858 h 1859"/>
                <a:gd name="T16" fmla="*/ 0 w 1328"/>
                <a:gd name="T17" fmla="*/ 1540 h 1859"/>
                <a:gd name="T18" fmla="*/ 272 w 1328"/>
                <a:gd name="T19" fmla="*/ 1223 h 1859"/>
                <a:gd name="T20" fmla="*/ 136 w 1328"/>
                <a:gd name="T21" fmla="*/ 1042 h 1859"/>
                <a:gd name="T22" fmla="*/ 284 w 1328"/>
                <a:gd name="T23" fmla="*/ 815 h 1859"/>
                <a:gd name="T24" fmla="*/ 91 w 1328"/>
                <a:gd name="T25" fmla="*/ 464 h 1859"/>
                <a:gd name="T26" fmla="*/ 635 w 1328"/>
                <a:gd name="T27" fmla="*/ 0 h 1859"/>
                <a:gd name="T28" fmla="*/ 1032 w 1328"/>
                <a:gd name="T29" fmla="*/ 125 h 1859"/>
                <a:gd name="T30" fmla="*/ 1270 w 1328"/>
                <a:gd name="T31" fmla="*/ 22 h 1859"/>
                <a:gd name="T32" fmla="*/ 1327 w 1328"/>
                <a:gd name="T33" fmla="*/ 34 h 1859"/>
                <a:gd name="T34" fmla="*/ 1327 w 1328"/>
                <a:gd name="T35" fmla="*/ 193 h 1859"/>
                <a:gd name="T36" fmla="*/ 1270 w 1328"/>
                <a:gd name="T37" fmla="*/ 193 h 1859"/>
                <a:gd name="T38" fmla="*/ 1111 w 1328"/>
                <a:gd name="T39" fmla="*/ 227 h 1859"/>
                <a:gd name="T40" fmla="*/ 1168 w 1328"/>
                <a:gd name="T41" fmla="*/ 441 h 1859"/>
                <a:gd name="T42" fmla="*/ 612 w 1328"/>
                <a:gd name="T43" fmla="*/ 906 h 1859"/>
                <a:gd name="T44" fmla="*/ 454 w 1328"/>
                <a:gd name="T45" fmla="*/ 1268 h 1859"/>
                <a:gd name="T46" fmla="*/ 454 w 1328"/>
                <a:gd name="T47" fmla="*/ 1268 h 1859"/>
                <a:gd name="T48" fmla="*/ 181 w 1328"/>
                <a:gd name="T49" fmla="*/ 1518 h 1859"/>
                <a:gd name="T50" fmla="*/ 578 w 1328"/>
                <a:gd name="T51" fmla="*/ 1722 h 1859"/>
                <a:gd name="T52" fmla="*/ 1088 w 1328"/>
                <a:gd name="T53" fmla="*/ 1450 h 1859"/>
                <a:gd name="T54" fmla="*/ 794 w 1328"/>
                <a:gd name="T55" fmla="*/ 1268 h 1859"/>
                <a:gd name="T56" fmla="*/ 454 w 1328"/>
                <a:gd name="T57" fmla="*/ 1268 h 1859"/>
                <a:gd name="T58" fmla="*/ 635 w 1328"/>
                <a:gd name="T59" fmla="*/ 770 h 1859"/>
                <a:gd name="T60" fmla="*/ 635 w 1328"/>
                <a:gd name="T61" fmla="*/ 770 h 1859"/>
                <a:gd name="T62" fmla="*/ 998 w 1328"/>
                <a:gd name="T63" fmla="*/ 452 h 1859"/>
                <a:gd name="T64" fmla="*/ 635 w 1328"/>
                <a:gd name="T65" fmla="*/ 136 h 1859"/>
                <a:gd name="T66" fmla="*/ 261 w 1328"/>
                <a:gd name="T67" fmla="*/ 452 h 1859"/>
                <a:gd name="T68" fmla="*/ 635 w 1328"/>
                <a:gd name="T69" fmla="*/ 770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28" h="1859">
                  <a:moveTo>
                    <a:pt x="612" y="906"/>
                  </a:moveTo>
                  <a:lnTo>
                    <a:pt x="612" y="906"/>
                  </a:lnTo>
                  <a:cubicBezTo>
                    <a:pt x="533" y="906"/>
                    <a:pt x="454" y="894"/>
                    <a:pt x="386" y="860"/>
                  </a:cubicBezTo>
                  <a:cubicBezTo>
                    <a:pt x="340" y="894"/>
                    <a:pt x="295" y="940"/>
                    <a:pt x="295" y="996"/>
                  </a:cubicBezTo>
                  <a:cubicBezTo>
                    <a:pt x="295" y="1110"/>
                    <a:pt x="420" y="1110"/>
                    <a:pt x="533" y="1110"/>
                  </a:cubicBezTo>
                  <a:cubicBezTo>
                    <a:pt x="828" y="1110"/>
                    <a:pt x="828" y="1110"/>
                    <a:pt x="828" y="1110"/>
                  </a:cubicBezTo>
                  <a:cubicBezTo>
                    <a:pt x="1100" y="1110"/>
                    <a:pt x="1258" y="1223"/>
                    <a:pt x="1258" y="1427"/>
                  </a:cubicBezTo>
                  <a:cubicBezTo>
                    <a:pt x="1258" y="1699"/>
                    <a:pt x="952" y="1858"/>
                    <a:pt x="556" y="1858"/>
                  </a:cubicBezTo>
                  <a:cubicBezTo>
                    <a:pt x="227" y="1858"/>
                    <a:pt x="0" y="1744"/>
                    <a:pt x="0" y="1540"/>
                  </a:cubicBezTo>
                  <a:cubicBezTo>
                    <a:pt x="0" y="1404"/>
                    <a:pt x="91" y="1291"/>
                    <a:pt x="272" y="1223"/>
                  </a:cubicBezTo>
                  <a:cubicBezTo>
                    <a:pt x="193" y="1189"/>
                    <a:pt x="136" y="1132"/>
                    <a:pt x="136" y="1042"/>
                  </a:cubicBezTo>
                  <a:cubicBezTo>
                    <a:pt x="136" y="940"/>
                    <a:pt x="204" y="872"/>
                    <a:pt x="284" y="815"/>
                  </a:cubicBezTo>
                  <a:cubicBezTo>
                    <a:pt x="170" y="747"/>
                    <a:pt x="91" y="622"/>
                    <a:pt x="91" y="464"/>
                  </a:cubicBezTo>
                  <a:cubicBezTo>
                    <a:pt x="91" y="170"/>
                    <a:pt x="340" y="0"/>
                    <a:pt x="635" y="0"/>
                  </a:cubicBezTo>
                  <a:cubicBezTo>
                    <a:pt x="794" y="0"/>
                    <a:pt x="930" y="45"/>
                    <a:pt x="1032" y="125"/>
                  </a:cubicBezTo>
                  <a:cubicBezTo>
                    <a:pt x="1077" y="79"/>
                    <a:pt x="1168" y="22"/>
                    <a:pt x="1270" y="22"/>
                  </a:cubicBezTo>
                  <a:cubicBezTo>
                    <a:pt x="1293" y="22"/>
                    <a:pt x="1304" y="22"/>
                    <a:pt x="1327" y="34"/>
                  </a:cubicBezTo>
                  <a:cubicBezTo>
                    <a:pt x="1327" y="193"/>
                    <a:pt x="1327" y="193"/>
                    <a:pt x="1327" y="193"/>
                  </a:cubicBezTo>
                  <a:cubicBezTo>
                    <a:pt x="1315" y="193"/>
                    <a:pt x="1293" y="193"/>
                    <a:pt x="1270" y="193"/>
                  </a:cubicBezTo>
                  <a:cubicBezTo>
                    <a:pt x="1213" y="193"/>
                    <a:pt x="1157" y="204"/>
                    <a:pt x="1111" y="227"/>
                  </a:cubicBezTo>
                  <a:cubicBezTo>
                    <a:pt x="1145" y="283"/>
                    <a:pt x="1168" y="363"/>
                    <a:pt x="1168" y="441"/>
                  </a:cubicBezTo>
                  <a:cubicBezTo>
                    <a:pt x="1168" y="736"/>
                    <a:pt x="930" y="906"/>
                    <a:pt x="612" y="906"/>
                  </a:cubicBezTo>
                  <a:close/>
                  <a:moveTo>
                    <a:pt x="454" y="1268"/>
                  </a:moveTo>
                  <a:lnTo>
                    <a:pt x="454" y="1268"/>
                  </a:lnTo>
                  <a:cubicBezTo>
                    <a:pt x="284" y="1314"/>
                    <a:pt x="181" y="1393"/>
                    <a:pt x="181" y="1518"/>
                  </a:cubicBezTo>
                  <a:cubicBezTo>
                    <a:pt x="181" y="1654"/>
                    <a:pt x="329" y="1722"/>
                    <a:pt x="578" y="1722"/>
                  </a:cubicBezTo>
                  <a:cubicBezTo>
                    <a:pt x="884" y="1722"/>
                    <a:pt x="1088" y="1620"/>
                    <a:pt x="1088" y="1450"/>
                  </a:cubicBezTo>
                  <a:cubicBezTo>
                    <a:pt x="1088" y="1325"/>
                    <a:pt x="986" y="1268"/>
                    <a:pt x="794" y="1268"/>
                  </a:cubicBezTo>
                  <a:lnTo>
                    <a:pt x="454" y="1268"/>
                  </a:lnTo>
                  <a:close/>
                  <a:moveTo>
                    <a:pt x="635" y="770"/>
                  </a:moveTo>
                  <a:lnTo>
                    <a:pt x="635" y="770"/>
                  </a:lnTo>
                  <a:cubicBezTo>
                    <a:pt x="839" y="770"/>
                    <a:pt x="998" y="668"/>
                    <a:pt x="998" y="452"/>
                  </a:cubicBezTo>
                  <a:cubicBezTo>
                    <a:pt x="998" y="227"/>
                    <a:pt x="839" y="136"/>
                    <a:pt x="635" y="136"/>
                  </a:cubicBezTo>
                  <a:cubicBezTo>
                    <a:pt x="420" y="136"/>
                    <a:pt x="261" y="238"/>
                    <a:pt x="261" y="452"/>
                  </a:cubicBezTo>
                  <a:cubicBezTo>
                    <a:pt x="261" y="679"/>
                    <a:pt x="431" y="770"/>
                    <a:pt x="635" y="770"/>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5" name="Freeform 9"/>
            <p:cNvSpPr>
              <a:spLocks noChangeArrowheads="1"/>
            </p:cNvSpPr>
            <p:nvPr/>
          </p:nvSpPr>
          <p:spPr bwMode="auto">
            <a:xfrm>
              <a:off x="3928373" y="3430637"/>
              <a:ext cx="476876" cy="654236"/>
            </a:xfrm>
            <a:custGeom>
              <a:avLst/>
              <a:gdLst>
                <a:gd name="T0" fmla="*/ 1167 w 1338"/>
                <a:gd name="T1" fmla="*/ 1609 h 1848"/>
                <a:gd name="T2" fmla="*/ 1167 w 1338"/>
                <a:gd name="T3" fmla="*/ 1609 h 1848"/>
                <a:gd name="T4" fmla="*/ 1167 w 1338"/>
                <a:gd name="T5" fmla="*/ 1042 h 1848"/>
                <a:gd name="T6" fmla="*/ 759 w 1338"/>
                <a:gd name="T7" fmla="*/ 1042 h 1848"/>
                <a:gd name="T8" fmla="*/ 759 w 1338"/>
                <a:gd name="T9" fmla="*/ 885 h 1848"/>
                <a:gd name="T10" fmla="*/ 1337 w 1338"/>
                <a:gd name="T11" fmla="*/ 885 h 1848"/>
                <a:gd name="T12" fmla="*/ 1337 w 1338"/>
                <a:gd name="T13" fmla="*/ 1689 h 1848"/>
                <a:gd name="T14" fmla="*/ 771 w 1338"/>
                <a:gd name="T15" fmla="*/ 1847 h 1848"/>
                <a:gd name="T16" fmla="*/ 0 w 1338"/>
                <a:gd name="T17" fmla="*/ 941 h 1848"/>
                <a:gd name="T18" fmla="*/ 793 w 1338"/>
                <a:gd name="T19" fmla="*/ 0 h 1848"/>
                <a:gd name="T20" fmla="*/ 1337 w 1338"/>
                <a:gd name="T21" fmla="*/ 182 h 1848"/>
                <a:gd name="T22" fmla="*/ 1281 w 1338"/>
                <a:gd name="T23" fmla="*/ 352 h 1848"/>
                <a:gd name="T24" fmla="*/ 782 w 1338"/>
                <a:gd name="T25" fmla="*/ 159 h 1848"/>
                <a:gd name="T26" fmla="*/ 170 w 1338"/>
                <a:gd name="T27" fmla="*/ 930 h 1848"/>
                <a:gd name="T28" fmla="*/ 793 w 1338"/>
                <a:gd name="T29" fmla="*/ 1700 h 1848"/>
                <a:gd name="T30" fmla="*/ 1167 w 1338"/>
                <a:gd name="T31" fmla="*/ 1609 h 1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8" h="1848">
                  <a:moveTo>
                    <a:pt x="1167" y="1609"/>
                  </a:moveTo>
                  <a:lnTo>
                    <a:pt x="1167" y="1609"/>
                  </a:lnTo>
                  <a:cubicBezTo>
                    <a:pt x="1167" y="1042"/>
                    <a:pt x="1167" y="1042"/>
                    <a:pt x="1167" y="1042"/>
                  </a:cubicBezTo>
                  <a:cubicBezTo>
                    <a:pt x="759" y="1042"/>
                    <a:pt x="759" y="1042"/>
                    <a:pt x="759" y="1042"/>
                  </a:cubicBezTo>
                  <a:cubicBezTo>
                    <a:pt x="759" y="885"/>
                    <a:pt x="759" y="885"/>
                    <a:pt x="759" y="885"/>
                  </a:cubicBezTo>
                  <a:cubicBezTo>
                    <a:pt x="1337" y="885"/>
                    <a:pt x="1337" y="885"/>
                    <a:pt x="1337" y="885"/>
                  </a:cubicBezTo>
                  <a:cubicBezTo>
                    <a:pt x="1337" y="1689"/>
                    <a:pt x="1337" y="1689"/>
                    <a:pt x="1337" y="1689"/>
                  </a:cubicBezTo>
                  <a:cubicBezTo>
                    <a:pt x="1179" y="1790"/>
                    <a:pt x="997" y="1847"/>
                    <a:pt x="771" y="1847"/>
                  </a:cubicBezTo>
                  <a:cubicBezTo>
                    <a:pt x="306" y="1847"/>
                    <a:pt x="0" y="1552"/>
                    <a:pt x="0" y="941"/>
                  </a:cubicBezTo>
                  <a:cubicBezTo>
                    <a:pt x="0" y="318"/>
                    <a:pt x="328" y="0"/>
                    <a:pt x="793" y="0"/>
                  </a:cubicBezTo>
                  <a:cubicBezTo>
                    <a:pt x="1020" y="0"/>
                    <a:pt x="1190" y="69"/>
                    <a:pt x="1337" y="182"/>
                  </a:cubicBezTo>
                  <a:cubicBezTo>
                    <a:pt x="1281" y="352"/>
                    <a:pt x="1281" y="352"/>
                    <a:pt x="1281" y="352"/>
                  </a:cubicBezTo>
                  <a:cubicBezTo>
                    <a:pt x="1122" y="227"/>
                    <a:pt x="975" y="159"/>
                    <a:pt x="782" y="159"/>
                  </a:cubicBezTo>
                  <a:cubicBezTo>
                    <a:pt x="419" y="159"/>
                    <a:pt x="170" y="408"/>
                    <a:pt x="170" y="930"/>
                  </a:cubicBezTo>
                  <a:cubicBezTo>
                    <a:pt x="170" y="1462"/>
                    <a:pt x="419" y="1700"/>
                    <a:pt x="793" y="1700"/>
                  </a:cubicBezTo>
                  <a:cubicBezTo>
                    <a:pt x="929" y="1700"/>
                    <a:pt x="1054" y="1666"/>
                    <a:pt x="1167" y="1609"/>
                  </a:cubicBez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6" name="Freeform 10"/>
            <p:cNvSpPr>
              <a:spLocks noChangeArrowheads="1"/>
            </p:cNvSpPr>
            <p:nvPr/>
          </p:nvSpPr>
          <p:spPr bwMode="auto">
            <a:xfrm>
              <a:off x="4550956" y="3617560"/>
              <a:ext cx="410647" cy="480660"/>
            </a:xfrm>
            <a:custGeom>
              <a:avLst/>
              <a:gdLst>
                <a:gd name="T0" fmla="*/ 555 w 1134"/>
                <a:gd name="T1" fmla="*/ 1325 h 1326"/>
                <a:gd name="T2" fmla="*/ 555 w 1134"/>
                <a:gd name="T3" fmla="*/ 1325 h 1326"/>
                <a:gd name="T4" fmla="*/ 0 w 1134"/>
                <a:gd name="T5" fmla="*/ 668 h 1326"/>
                <a:gd name="T6" fmla="*/ 567 w 1134"/>
                <a:gd name="T7" fmla="*/ 0 h 1326"/>
                <a:gd name="T8" fmla="*/ 1133 w 1134"/>
                <a:gd name="T9" fmla="*/ 656 h 1326"/>
                <a:gd name="T10" fmla="*/ 555 w 1134"/>
                <a:gd name="T11" fmla="*/ 1325 h 1326"/>
                <a:gd name="T12" fmla="*/ 567 w 1134"/>
                <a:gd name="T13" fmla="*/ 1189 h 1326"/>
                <a:gd name="T14" fmla="*/ 567 w 1134"/>
                <a:gd name="T15" fmla="*/ 1189 h 1326"/>
                <a:gd name="T16" fmla="*/ 963 w 1134"/>
                <a:gd name="T17" fmla="*/ 668 h 1326"/>
                <a:gd name="T18" fmla="*/ 567 w 1134"/>
                <a:gd name="T19" fmla="*/ 147 h 1326"/>
                <a:gd name="T20" fmla="*/ 170 w 1134"/>
                <a:gd name="T21" fmla="*/ 668 h 1326"/>
                <a:gd name="T22" fmla="*/ 567 w 1134"/>
                <a:gd name="T23" fmla="*/ 1189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4" h="1326">
                  <a:moveTo>
                    <a:pt x="555" y="1325"/>
                  </a:moveTo>
                  <a:lnTo>
                    <a:pt x="555" y="1325"/>
                  </a:lnTo>
                  <a:cubicBezTo>
                    <a:pt x="249" y="1325"/>
                    <a:pt x="0" y="1121"/>
                    <a:pt x="0" y="668"/>
                  </a:cubicBezTo>
                  <a:cubicBezTo>
                    <a:pt x="0" y="204"/>
                    <a:pt x="261" y="0"/>
                    <a:pt x="567" y="0"/>
                  </a:cubicBezTo>
                  <a:cubicBezTo>
                    <a:pt x="873" y="0"/>
                    <a:pt x="1133" y="204"/>
                    <a:pt x="1133" y="656"/>
                  </a:cubicBezTo>
                  <a:cubicBezTo>
                    <a:pt x="1133" y="1121"/>
                    <a:pt x="873" y="1325"/>
                    <a:pt x="555" y="1325"/>
                  </a:cubicBezTo>
                  <a:close/>
                  <a:moveTo>
                    <a:pt x="567" y="1189"/>
                  </a:moveTo>
                  <a:lnTo>
                    <a:pt x="567" y="1189"/>
                  </a:lnTo>
                  <a:cubicBezTo>
                    <a:pt x="782" y="1189"/>
                    <a:pt x="963" y="1030"/>
                    <a:pt x="963" y="668"/>
                  </a:cubicBezTo>
                  <a:cubicBezTo>
                    <a:pt x="963" y="295"/>
                    <a:pt x="782" y="147"/>
                    <a:pt x="567" y="147"/>
                  </a:cubicBezTo>
                  <a:cubicBezTo>
                    <a:pt x="340" y="147"/>
                    <a:pt x="170" y="295"/>
                    <a:pt x="170" y="668"/>
                  </a:cubicBezTo>
                  <a:cubicBezTo>
                    <a:pt x="170" y="1030"/>
                    <a:pt x="340" y="1189"/>
                    <a:pt x="567" y="1189"/>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7" name="Freeform 11"/>
            <p:cNvSpPr>
              <a:spLocks noChangeArrowheads="1"/>
            </p:cNvSpPr>
            <p:nvPr/>
          </p:nvSpPr>
          <p:spPr bwMode="auto">
            <a:xfrm>
              <a:off x="5054325" y="3470696"/>
              <a:ext cx="278182" cy="614177"/>
            </a:xfrm>
            <a:custGeom>
              <a:avLst/>
              <a:gdLst>
                <a:gd name="T0" fmla="*/ 0 w 771"/>
                <a:gd name="T1" fmla="*/ 431 h 1712"/>
                <a:gd name="T2" fmla="*/ 0 w 771"/>
                <a:gd name="T3" fmla="*/ 431 h 1712"/>
                <a:gd name="T4" fmla="*/ 259 w 771"/>
                <a:gd name="T5" fmla="*/ 431 h 1712"/>
                <a:gd name="T6" fmla="*/ 259 w 771"/>
                <a:gd name="T7" fmla="*/ 0 h 1712"/>
                <a:gd name="T8" fmla="*/ 429 w 771"/>
                <a:gd name="T9" fmla="*/ 0 h 1712"/>
                <a:gd name="T10" fmla="*/ 429 w 771"/>
                <a:gd name="T11" fmla="*/ 431 h 1712"/>
                <a:gd name="T12" fmla="*/ 770 w 771"/>
                <a:gd name="T13" fmla="*/ 431 h 1712"/>
                <a:gd name="T14" fmla="*/ 770 w 771"/>
                <a:gd name="T15" fmla="*/ 578 h 1712"/>
                <a:gd name="T16" fmla="*/ 429 w 771"/>
                <a:gd name="T17" fmla="*/ 578 h 1712"/>
                <a:gd name="T18" fmla="*/ 429 w 771"/>
                <a:gd name="T19" fmla="*/ 1348 h 1712"/>
                <a:gd name="T20" fmla="*/ 588 w 771"/>
                <a:gd name="T21" fmla="*/ 1564 h 1712"/>
                <a:gd name="T22" fmla="*/ 770 w 771"/>
                <a:gd name="T23" fmla="*/ 1529 h 1712"/>
                <a:gd name="T24" fmla="*/ 770 w 771"/>
                <a:gd name="T25" fmla="*/ 1688 h 1712"/>
                <a:gd name="T26" fmla="*/ 554 w 771"/>
                <a:gd name="T27" fmla="*/ 1711 h 1712"/>
                <a:gd name="T28" fmla="*/ 259 w 771"/>
                <a:gd name="T29" fmla="*/ 1371 h 1712"/>
                <a:gd name="T30" fmla="*/ 259 w 771"/>
                <a:gd name="T31" fmla="*/ 578 h 1712"/>
                <a:gd name="T32" fmla="*/ 0 w 771"/>
                <a:gd name="T33" fmla="*/ 578 h 1712"/>
                <a:gd name="T34" fmla="*/ 0 w 771"/>
                <a:gd name="T35" fmla="*/ 431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1" h="1712">
                  <a:moveTo>
                    <a:pt x="0" y="431"/>
                  </a:moveTo>
                  <a:lnTo>
                    <a:pt x="0" y="431"/>
                  </a:lnTo>
                  <a:cubicBezTo>
                    <a:pt x="259" y="431"/>
                    <a:pt x="259" y="431"/>
                    <a:pt x="259" y="431"/>
                  </a:cubicBezTo>
                  <a:cubicBezTo>
                    <a:pt x="259" y="0"/>
                    <a:pt x="259" y="0"/>
                    <a:pt x="259" y="0"/>
                  </a:cubicBezTo>
                  <a:cubicBezTo>
                    <a:pt x="429" y="0"/>
                    <a:pt x="429" y="0"/>
                    <a:pt x="429" y="0"/>
                  </a:cubicBezTo>
                  <a:cubicBezTo>
                    <a:pt x="429" y="431"/>
                    <a:pt x="429" y="431"/>
                    <a:pt x="429" y="431"/>
                  </a:cubicBezTo>
                  <a:cubicBezTo>
                    <a:pt x="770" y="431"/>
                    <a:pt x="770" y="431"/>
                    <a:pt x="770" y="431"/>
                  </a:cubicBezTo>
                  <a:cubicBezTo>
                    <a:pt x="770" y="578"/>
                    <a:pt x="770" y="578"/>
                    <a:pt x="770" y="578"/>
                  </a:cubicBezTo>
                  <a:cubicBezTo>
                    <a:pt x="429" y="578"/>
                    <a:pt x="429" y="578"/>
                    <a:pt x="429" y="578"/>
                  </a:cubicBezTo>
                  <a:cubicBezTo>
                    <a:pt x="429" y="1348"/>
                    <a:pt x="429" y="1348"/>
                    <a:pt x="429" y="1348"/>
                  </a:cubicBezTo>
                  <a:cubicBezTo>
                    <a:pt x="429" y="1518"/>
                    <a:pt x="464" y="1564"/>
                    <a:pt x="588" y="1564"/>
                  </a:cubicBezTo>
                  <a:cubicBezTo>
                    <a:pt x="656" y="1564"/>
                    <a:pt x="713" y="1552"/>
                    <a:pt x="770" y="1529"/>
                  </a:cubicBezTo>
                  <a:cubicBezTo>
                    <a:pt x="770" y="1688"/>
                    <a:pt x="770" y="1688"/>
                    <a:pt x="770" y="1688"/>
                  </a:cubicBezTo>
                  <a:cubicBezTo>
                    <a:pt x="713" y="1700"/>
                    <a:pt x="645" y="1711"/>
                    <a:pt x="554" y="1711"/>
                  </a:cubicBezTo>
                  <a:cubicBezTo>
                    <a:pt x="339" y="1711"/>
                    <a:pt x="259" y="1631"/>
                    <a:pt x="259" y="1371"/>
                  </a:cubicBezTo>
                  <a:cubicBezTo>
                    <a:pt x="259" y="578"/>
                    <a:pt x="259" y="578"/>
                    <a:pt x="259" y="578"/>
                  </a:cubicBezTo>
                  <a:cubicBezTo>
                    <a:pt x="0" y="578"/>
                    <a:pt x="0" y="578"/>
                    <a:pt x="0" y="578"/>
                  </a:cubicBezTo>
                  <a:lnTo>
                    <a:pt x="0" y="431"/>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8" name="Freeform 12"/>
            <p:cNvSpPr>
              <a:spLocks noChangeArrowheads="1"/>
            </p:cNvSpPr>
            <p:nvPr/>
          </p:nvSpPr>
          <p:spPr bwMode="auto">
            <a:xfrm>
              <a:off x="5411986" y="3470696"/>
              <a:ext cx="278173" cy="614177"/>
            </a:xfrm>
            <a:custGeom>
              <a:avLst/>
              <a:gdLst>
                <a:gd name="T0" fmla="*/ 0 w 772"/>
                <a:gd name="T1" fmla="*/ 431 h 1712"/>
                <a:gd name="T2" fmla="*/ 0 w 772"/>
                <a:gd name="T3" fmla="*/ 431 h 1712"/>
                <a:gd name="T4" fmla="*/ 261 w 772"/>
                <a:gd name="T5" fmla="*/ 431 h 1712"/>
                <a:gd name="T6" fmla="*/ 261 w 772"/>
                <a:gd name="T7" fmla="*/ 0 h 1712"/>
                <a:gd name="T8" fmla="*/ 431 w 772"/>
                <a:gd name="T9" fmla="*/ 0 h 1712"/>
                <a:gd name="T10" fmla="*/ 431 w 772"/>
                <a:gd name="T11" fmla="*/ 431 h 1712"/>
                <a:gd name="T12" fmla="*/ 771 w 772"/>
                <a:gd name="T13" fmla="*/ 431 h 1712"/>
                <a:gd name="T14" fmla="*/ 771 w 772"/>
                <a:gd name="T15" fmla="*/ 578 h 1712"/>
                <a:gd name="T16" fmla="*/ 431 w 772"/>
                <a:gd name="T17" fmla="*/ 578 h 1712"/>
                <a:gd name="T18" fmla="*/ 431 w 772"/>
                <a:gd name="T19" fmla="*/ 1348 h 1712"/>
                <a:gd name="T20" fmla="*/ 590 w 772"/>
                <a:gd name="T21" fmla="*/ 1564 h 1712"/>
                <a:gd name="T22" fmla="*/ 771 w 772"/>
                <a:gd name="T23" fmla="*/ 1529 h 1712"/>
                <a:gd name="T24" fmla="*/ 771 w 772"/>
                <a:gd name="T25" fmla="*/ 1688 h 1712"/>
                <a:gd name="T26" fmla="*/ 556 w 772"/>
                <a:gd name="T27" fmla="*/ 1711 h 1712"/>
                <a:gd name="T28" fmla="*/ 261 w 772"/>
                <a:gd name="T29" fmla="*/ 1371 h 1712"/>
                <a:gd name="T30" fmla="*/ 261 w 772"/>
                <a:gd name="T31" fmla="*/ 578 h 1712"/>
                <a:gd name="T32" fmla="*/ 0 w 772"/>
                <a:gd name="T33" fmla="*/ 578 h 1712"/>
                <a:gd name="T34" fmla="*/ 0 w 772"/>
                <a:gd name="T35" fmla="*/ 431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2" h="1712">
                  <a:moveTo>
                    <a:pt x="0" y="431"/>
                  </a:moveTo>
                  <a:lnTo>
                    <a:pt x="0" y="431"/>
                  </a:lnTo>
                  <a:cubicBezTo>
                    <a:pt x="261" y="431"/>
                    <a:pt x="261" y="431"/>
                    <a:pt x="261" y="431"/>
                  </a:cubicBezTo>
                  <a:cubicBezTo>
                    <a:pt x="261" y="0"/>
                    <a:pt x="261" y="0"/>
                    <a:pt x="261" y="0"/>
                  </a:cubicBezTo>
                  <a:cubicBezTo>
                    <a:pt x="431" y="0"/>
                    <a:pt x="431" y="0"/>
                    <a:pt x="431" y="0"/>
                  </a:cubicBezTo>
                  <a:cubicBezTo>
                    <a:pt x="431" y="431"/>
                    <a:pt x="431" y="431"/>
                    <a:pt x="431" y="431"/>
                  </a:cubicBezTo>
                  <a:cubicBezTo>
                    <a:pt x="771" y="431"/>
                    <a:pt x="771" y="431"/>
                    <a:pt x="771" y="431"/>
                  </a:cubicBezTo>
                  <a:cubicBezTo>
                    <a:pt x="771" y="578"/>
                    <a:pt x="771" y="578"/>
                    <a:pt x="771" y="578"/>
                  </a:cubicBezTo>
                  <a:cubicBezTo>
                    <a:pt x="431" y="578"/>
                    <a:pt x="431" y="578"/>
                    <a:pt x="431" y="578"/>
                  </a:cubicBezTo>
                  <a:cubicBezTo>
                    <a:pt x="431" y="1348"/>
                    <a:pt x="431" y="1348"/>
                    <a:pt x="431" y="1348"/>
                  </a:cubicBezTo>
                  <a:cubicBezTo>
                    <a:pt x="431" y="1518"/>
                    <a:pt x="465" y="1564"/>
                    <a:pt x="590" y="1564"/>
                  </a:cubicBezTo>
                  <a:cubicBezTo>
                    <a:pt x="658" y="1564"/>
                    <a:pt x="714" y="1552"/>
                    <a:pt x="771" y="1529"/>
                  </a:cubicBezTo>
                  <a:cubicBezTo>
                    <a:pt x="771" y="1688"/>
                    <a:pt x="771" y="1688"/>
                    <a:pt x="771" y="1688"/>
                  </a:cubicBezTo>
                  <a:cubicBezTo>
                    <a:pt x="714" y="1700"/>
                    <a:pt x="647" y="1711"/>
                    <a:pt x="556" y="1711"/>
                  </a:cubicBezTo>
                  <a:cubicBezTo>
                    <a:pt x="340" y="1711"/>
                    <a:pt x="261" y="1631"/>
                    <a:pt x="261" y="1371"/>
                  </a:cubicBezTo>
                  <a:cubicBezTo>
                    <a:pt x="261" y="578"/>
                    <a:pt x="261" y="578"/>
                    <a:pt x="261" y="578"/>
                  </a:cubicBezTo>
                  <a:cubicBezTo>
                    <a:pt x="0" y="578"/>
                    <a:pt x="0" y="578"/>
                    <a:pt x="0" y="578"/>
                  </a:cubicBezTo>
                  <a:lnTo>
                    <a:pt x="0" y="431"/>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9" name="Freeform 13"/>
            <p:cNvSpPr>
              <a:spLocks noChangeArrowheads="1"/>
            </p:cNvSpPr>
            <p:nvPr/>
          </p:nvSpPr>
          <p:spPr bwMode="auto">
            <a:xfrm>
              <a:off x="5822625" y="3430637"/>
              <a:ext cx="66237" cy="654236"/>
            </a:xfrm>
            <a:custGeom>
              <a:avLst/>
              <a:gdLst>
                <a:gd name="T0" fmla="*/ 0 w 183"/>
                <a:gd name="T1" fmla="*/ 0 h 1803"/>
                <a:gd name="T2" fmla="*/ 182 w 183"/>
                <a:gd name="T3" fmla="*/ 0 h 1803"/>
                <a:gd name="T4" fmla="*/ 182 w 183"/>
                <a:gd name="T5" fmla="*/ 1802 h 1803"/>
                <a:gd name="T6" fmla="*/ 0 w 183"/>
                <a:gd name="T7" fmla="*/ 1802 h 1803"/>
                <a:gd name="T8" fmla="*/ 0 w 183"/>
                <a:gd name="T9" fmla="*/ 0 h 1803"/>
              </a:gdLst>
              <a:ahLst/>
              <a:cxnLst>
                <a:cxn ang="0">
                  <a:pos x="T0" y="T1"/>
                </a:cxn>
                <a:cxn ang="0">
                  <a:pos x="T2" y="T3"/>
                </a:cxn>
                <a:cxn ang="0">
                  <a:pos x="T4" y="T5"/>
                </a:cxn>
                <a:cxn ang="0">
                  <a:pos x="T6" y="T7"/>
                </a:cxn>
                <a:cxn ang="0">
                  <a:pos x="T8" y="T9"/>
                </a:cxn>
              </a:cxnLst>
              <a:rect l="0" t="0" r="r" b="b"/>
              <a:pathLst>
                <a:path w="183" h="1803">
                  <a:moveTo>
                    <a:pt x="0" y="0"/>
                  </a:moveTo>
                  <a:lnTo>
                    <a:pt x="182" y="0"/>
                  </a:lnTo>
                  <a:lnTo>
                    <a:pt x="182" y="1802"/>
                  </a:lnTo>
                  <a:lnTo>
                    <a:pt x="0" y="1802"/>
                  </a:lnTo>
                  <a:lnTo>
                    <a:pt x="0" y="0"/>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40" name="Freeform 14"/>
            <p:cNvSpPr>
              <a:spLocks noChangeArrowheads="1"/>
            </p:cNvSpPr>
            <p:nvPr/>
          </p:nvSpPr>
          <p:spPr bwMode="auto">
            <a:xfrm>
              <a:off x="6047820" y="3457340"/>
              <a:ext cx="92722" cy="627533"/>
            </a:xfrm>
            <a:custGeom>
              <a:avLst/>
              <a:gdLst>
                <a:gd name="T0" fmla="*/ 125 w 239"/>
                <a:gd name="T1" fmla="*/ 227 h 1746"/>
                <a:gd name="T2" fmla="*/ 125 w 239"/>
                <a:gd name="T3" fmla="*/ 227 h 1746"/>
                <a:gd name="T4" fmla="*/ 0 w 239"/>
                <a:gd name="T5" fmla="*/ 113 h 1746"/>
                <a:gd name="T6" fmla="*/ 125 w 239"/>
                <a:gd name="T7" fmla="*/ 0 h 1746"/>
                <a:gd name="T8" fmla="*/ 238 w 239"/>
                <a:gd name="T9" fmla="*/ 113 h 1746"/>
                <a:gd name="T10" fmla="*/ 125 w 239"/>
                <a:gd name="T11" fmla="*/ 227 h 1746"/>
                <a:gd name="T12" fmla="*/ 34 w 239"/>
                <a:gd name="T13" fmla="*/ 476 h 1746"/>
                <a:gd name="T14" fmla="*/ 34 w 239"/>
                <a:gd name="T15" fmla="*/ 476 h 1746"/>
                <a:gd name="T16" fmla="*/ 204 w 239"/>
                <a:gd name="T17" fmla="*/ 476 h 1746"/>
                <a:gd name="T18" fmla="*/ 204 w 239"/>
                <a:gd name="T19" fmla="*/ 1745 h 1746"/>
                <a:gd name="T20" fmla="*/ 34 w 239"/>
                <a:gd name="T21" fmla="*/ 1745 h 1746"/>
                <a:gd name="T22" fmla="*/ 34 w 239"/>
                <a:gd name="T23" fmla="*/ 47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9" h="1746">
                  <a:moveTo>
                    <a:pt x="125" y="227"/>
                  </a:moveTo>
                  <a:lnTo>
                    <a:pt x="125" y="227"/>
                  </a:lnTo>
                  <a:cubicBezTo>
                    <a:pt x="57" y="227"/>
                    <a:pt x="0" y="181"/>
                    <a:pt x="0" y="113"/>
                  </a:cubicBezTo>
                  <a:cubicBezTo>
                    <a:pt x="0" y="45"/>
                    <a:pt x="57" y="0"/>
                    <a:pt x="125" y="0"/>
                  </a:cubicBezTo>
                  <a:cubicBezTo>
                    <a:pt x="193" y="0"/>
                    <a:pt x="238" y="45"/>
                    <a:pt x="238" y="113"/>
                  </a:cubicBezTo>
                  <a:cubicBezTo>
                    <a:pt x="238" y="181"/>
                    <a:pt x="193" y="227"/>
                    <a:pt x="125" y="227"/>
                  </a:cubicBezTo>
                  <a:close/>
                  <a:moveTo>
                    <a:pt x="34" y="476"/>
                  </a:moveTo>
                  <a:lnTo>
                    <a:pt x="34" y="476"/>
                  </a:lnTo>
                  <a:cubicBezTo>
                    <a:pt x="204" y="476"/>
                    <a:pt x="204" y="476"/>
                    <a:pt x="204" y="476"/>
                  </a:cubicBezTo>
                  <a:cubicBezTo>
                    <a:pt x="204" y="1745"/>
                    <a:pt x="204" y="1745"/>
                    <a:pt x="204" y="1745"/>
                  </a:cubicBezTo>
                  <a:cubicBezTo>
                    <a:pt x="34" y="1745"/>
                    <a:pt x="34" y="1745"/>
                    <a:pt x="34" y="1745"/>
                  </a:cubicBezTo>
                  <a:lnTo>
                    <a:pt x="34" y="476"/>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41" name="Freeform 15"/>
            <p:cNvSpPr>
              <a:spLocks noChangeArrowheads="1"/>
            </p:cNvSpPr>
            <p:nvPr/>
          </p:nvSpPr>
          <p:spPr bwMode="auto">
            <a:xfrm>
              <a:off x="6273007" y="3617560"/>
              <a:ext cx="384154" cy="480660"/>
            </a:xfrm>
            <a:custGeom>
              <a:avLst/>
              <a:gdLst>
                <a:gd name="T0" fmla="*/ 170 w 1078"/>
                <a:gd name="T1" fmla="*/ 702 h 1326"/>
                <a:gd name="T2" fmla="*/ 170 w 1078"/>
                <a:gd name="T3" fmla="*/ 702 h 1326"/>
                <a:gd name="T4" fmla="*/ 590 w 1078"/>
                <a:gd name="T5" fmla="*/ 1189 h 1326"/>
                <a:gd name="T6" fmla="*/ 986 w 1078"/>
                <a:gd name="T7" fmla="*/ 1053 h 1326"/>
                <a:gd name="T8" fmla="*/ 1043 w 1078"/>
                <a:gd name="T9" fmla="*/ 1200 h 1326"/>
                <a:gd name="T10" fmla="*/ 567 w 1078"/>
                <a:gd name="T11" fmla="*/ 1325 h 1326"/>
                <a:gd name="T12" fmla="*/ 0 w 1078"/>
                <a:gd name="T13" fmla="*/ 679 h 1326"/>
                <a:gd name="T14" fmla="*/ 567 w 1078"/>
                <a:gd name="T15" fmla="*/ 0 h 1326"/>
                <a:gd name="T16" fmla="*/ 1077 w 1078"/>
                <a:gd name="T17" fmla="*/ 600 h 1326"/>
                <a:gd name="T18" fmla="*/ 1066 w 1078"/>
                <a:gd name="T19" fmla="*/ 702 h 1326"/>
                <a:gd name="T20" fmla="*/ 170 w 1078"/>
                <a:gd name="T21" fmla="*/ 702 h 1326"/>
                <a:gd name="T22" fmla="*/ 170 w 1078"/>
                <a:gd name="T23" fmla="*/ 566 h 1326"/>
                <a:gd name="T24" fmla="*/ 170 w 1078"/>
                <a:gd name="T25" fmla="*/ 566 h 1326"/>
                <a:gd name="T26" fmla="*/ 907 w 1078"/>
                <a:gd name="T27" fmla="*/ 566 h 1326"/>
                <a:gd name="T28" fmla="*/ 567 w 1078"/>
                <a:gd name="T29" fmla="*/ 136 h 1326"/>
                <a:gd name="T30" fmla="*/ 170 w 1078"/>
                <a:gd name="T31" fmla="*/ 566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8" h="1326">
                  <a:moveTo>
                    <a:pt x="170" y="702"/>
                  </a:moveTo>
                  <a:lnTo>
                    <a:pt x="170" y="702"/>
                  </a:lnTo>
                  <a:cubicBezTo>
                    <a:pt x="181" y="1042"/>
                    <a:pt x="352" y="1189"/>
                    <a:pt x="590" y="1189"/>
                  </a:cubicBezTo>
                  <a:cubicBezTo>
                    <a:pt x="726" y="1189"/>
                    <a:pt x="850" y="1144"/>
                    <a:pt x="986" y="1053"/>
                  </a:cubicBezTo>
                  <a:cubicBezTo>
                    <a:pt x="1043" y="1200"/>
                    <a:pt x="1043" y="1200"/>
                    <a:pt x="1043" y="1200"/>
                  </a:cubicBezTo>
                  <a:cubicBezTo>
                    <a:pt x="907" y="1280"/>
                    <a:pt x="737" y="1325"/>
                    <a:pt x="567" y="1325"/>
                  </a:cubicBezTo>
                  <a:cubicBezTo>
                    <a:pt x="227" y="1325"/>
                    <a:pt x="0" y="1110"/>
                    <a:pt x="0" y="679"/>
                  </a:cubicBezTo>
                  <a:cubicBezTo>
                    <a:pt x="0" y="238"/>
                    <a:pt x="250" y="0"/>
                    <a:pt x="567" y="0"/>
                  </a:cubicBezTo>
                  <a:cubicBezTo>
                    <a:pt x="873" y="0"/>
                    <a:pt x="1077" y="204"/>
                    <a:pt x="1077" y="600"/>
                  </a:cubicBezTo>
                  <a:cubicBezTo>
                    <a:pt x="1077" y="645"/>
                    <a:pt x="1077" y="668"/>
                    <a:pt x="1066" y="702"/>
                  </a:cubicBezTo>
                  <a:lnTo>
                    <a:pt x="170" y="702"/>
                  </a:lnTo>
                  <a:close/>
                  <a:moveTo>
                    <a:pt x="170" y="566"/>
                  </a:moveTo>
                  <a:lnTo>
                    <a:pt x="170" y="566"/>
                  </a:lnTo>
                  <a:cubicBezTo>
                    <a:pt x="907" y="566"/>
                    <a:pt x="907" y="566"/>
                    <a:pt x="907" y="566"/>
                  </a:cubicBezTo>
                  <a:cubicBezTo>
                    <a:pt x="907" y="261"/>
                    <a:pt x="760" y="136"/>
                    <a:pt x="567" y="136"/>
                  </a:cubicBezTo>
                  <a:cubicBezTo>
                    <a:pt x="352" y="136"/>
                    <a:pt x="193" y="295"/>
                    <a:pt x="170" y="566"/>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42" name="Freeform 16"/>
            <p:cNvSpPr>
              <a:spLocks noChangeArrowheads="1"/>
            </p:cNvSpPr>
            <p:nvPr/>
          </p:nvSpPr>
          <p:spPr bwMode="auto">
            <a:xfrm>
              <a:off x="6802869" y="3430637"/>
              <a:ext cx="397396" cy="654236"/>
            </a:xfrm>
            <a:custGeom>
              <a:avLst/>
              <a:gdLst>
                <a:gd name="T0" fmla="*/ 170 w 1100"/>
                <a:gd name="T1" fmla="*/ 0 h 1825"/>
                <a:gd name="T2" fmla="*/ 170 w 1100"/>
                <a:gd name="T3" fmla="*/ 0 h 1825"/>
                <a:gd name="T4" fmla="*/ 170 w 1100"/>
                <a:gd name="T5" fmla="*/ 714 h 1825"/>
                <a:gd name="T6" fmla="*/ 601 w 1100"/>
                <a:gd name="T7" fmla="*/ 499 h 1825"/>
                <a:gd name="T8" fmla="*/ 1099 w 1100"/>
                <a:gd name="T9" fmla="*/ 1155 h 1825"/>
                <a:gd name="T10" fmla="*/ 578 w 1100"/>
                <a:gd name="T11" fmla="*/ 1824 h 1825"/>
                <a:gd name="T12" fmla="*/ 158 w 1100"/>
                <a:gd name="T13" fmla="*/ 1620 h 1825"/>
                <a:gd name="T14" fmla="*/ 158 w 1100"/>
                <a:gd name="T15" fmla="*/ 1802 h 1825"/>
                <a:gd name="T16" fmla="*/ 0 w 1100"/>
                <a:gd name="T17" fmla="*/ 1802 h 1825"/>
                <a:gd name="T18" fmla="*/ 0 w 1100"/>
                <a:gd name="T19" fmla="*/ 0 h 1825"/>
                <a:gd name="T20" fmla="*/ 170 w 1100"/>
                <a:gd name="T21" fmla="*/ 0 h 1825"/>
                <a:gd name="T22" fmla="*/ 170 w 1100"/>
                <a:gd name="T23" fmla="*/ 862 h 1825"/>
                <a:gd name="T24" fmla="*/ 170 w 1100"/>
                <a:gd name="T25" fmla="*/ 862 h 1825"/>
                <a:gd name="T26" fmla="*/ 170 w 1100"/>
                <a:gd name="T27" fmla="*/ 1484 h 1825"/>
                <a:gd name="T28" fmla="*/ 555 w 1100"/>
                <a:gd name="T29" fmla="*/ 1677 h 1825"/>
                <a:gd name="T30" fmla="*/ 929 w 1100"/>
                <a:gd name="T31" fmla="*/ 1167 h 1825"/>
                <a:gd name="T32" fmla="*/ 567 w 1100"/>
                <a:gd name="T33" fmla="*/ 646 h 1825"/>
                <a:gd name="T34" fmla="*/ 170 w 1100"/>
                <a:gd name="T35" fmla="*/ 862 h 1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0" h="1825">
                  <a:moveTo>
                    <a:pt x="170" y="0"/>
                  </a:moveTo>
                  <a:lnTo>
                    <a:pt x="170" y="0"/>
                  </a:lnTo>
                  <a:cubicBezTo>
                    <a:pt x="170" y="714"/>
                    <a:pt x="170" y="714"/>
                    <a:pt x="170" y="714"/>
                  </a:cubicBezTo>
                  <a:cubicBezTo>
                    <a:pt x="283" y="578"/>
                    <a:pt x="431" y="499"/>
                    <a:pt x="601" y="499"/>
                  </a:cubicBezTo>
                  <a:cubicBezTo>
                    <a:pt x="884" y="499"/>
                    <a:pt x="1099" y="726"/>
                    <a:pt x="1099" y="1155"/>
                  </a:cubicBezTo>
                  <a:cubicBezTo>
                    <a:pt x="1099" y="1597"/>
                    <a:pt x="873" y="1824"/>
                    <a:pt x="578" y="1824"/>
                  </a:cubicBezTo>
                  <a:cubicBezTo>
                    <a:pt x="419" y="1824"/>
                    <a:pt x="283" y="1756"/>
                    <a:pt x="158" y="1620"/>
                  </a:cubicBezTo>
                  <a:cubicBezTo>
                    <a:pt x="158" y="1802"/>
                    <a:pt x="158" y="1802"/>
                    <a:pt x="158" y="1802"/>
                  </a:cubicBezTo>
                  <a:cubicBezTo>
                    <a:pt x="0" y="1802"/>
                    <a:pt x="0" y="1802"/>
                    <a:pt x="0" y="1802"/>
                  </a:cubicBezTo>
                  <a:cubicBezTo>
                    <a:pt x="0" y="0"/>
                    <a:pt x="0" y="0"/>
                    <a:pt x="0" y="0"/>
                  </a:cubicBezTo>
                  <a:lnTo>
                    <a:pt x="170" y="0"/>
                  </a:lnTo>
                  <a:close/>
                  <a:moveTo>
                    <a:pt x="170" y="862"/>
                  </a:moveTo>
                  <a:lnTo>
                    <a:pt x="170" y="862"/>
                  </a:lnTo>
                  <a:cubicBezTo>
                    <a:pt x="170" y="1484"/>
                    <a:pt x="170" y="1484"/>
                    <a:pt x="170" y="1484"/>
                  </a:cubicBezTo>
                  <a:cubicBezTo>
                    <a:pt x="283" y="1609"/>
                    <a:pt x="408" y="1677"/>
                    <a:pt x="555" y="1677"/>
                  </a:cubicBezTo>
                  <a:cubicBezTo>
                    <a:pt x="771" y="1677"/>
                    <a:pt x="929" y="1518"/>
                    <a:pt x="929" y="1167"/>
                  </a:cubicBezTo>
                  <a:cubicBezTo>
                    <a:pt x="929" y="816"/>
                    <a:pt x="782" y="646"/>
                    <a:pt x="567" y="646"/>
                  </a:cubicBezTo>
                  <a:cubicBezTo>
                    <a:pt x="419" y="646"/>
                    <a:pt x="283" y="737"/>
                    <a:pt x="170" y="862"/>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43" name="Freeform 17"/>
            <p:cNvSpPr>
              <a:spLocks noChangeArrowheads="1"/>
            </p:cNvSpPr>
            <p:nvPr/>
          </p:nvSpPr>
          <p:spPr bwMode="auto">
            <a:xfrm>
              <a:off x="7597662" y="3163603"/>
              <a:ext cx="52986" cy="1241710"/>
            </a:xfrm>
            <a:custGeom>
              <a:avLst/>
              <a:gdLst>
                <a:gd name="T0" fmla="*/ 158 w 159"/>
                <a:gd name="T1" fmla="*/ 3467 h 3468"/>
                <a:gd name="T2" fmla="*/ 0 w 159"/>
                <a:gd name="T3" fmla="*/ 3467 h 3468"/>
                <a:gd name="T4" fmla="*/ 0 w 159"/>
                <a:gd name="T5" fmla="*/ 0 h 3468"/>
                <a:gd name="T6" fmla="*/ 158 w 159"/>
                <a:gd name="T7" fmla="*/ 0 h 3468"/>
                <a:gd name="T8" fmla="*/ 158 w 159"/>
                <a:gd name="T9" fmla="*/ 3467 h 3468"/>
              </a:gdLst>
              <a:ahLst/>
              <a:cxnLst>
                <a:cxn ang="0">
                  <a:pos x="T0" y="T1"/>
                </a:cxn>
                <a:cxn ang="0">
                  <a:pos x="T2" y="T3"/>
                </a:cxn>
                <a:cxn ang="0">
                  <a:pos x="T4" y="T5"/>
                </a:cxn>
                <a:cxn ang="0">
                  <a:pos x="T6" y="T7"/>
                </a:cxn>
                <a:cxn ang="0">
                  <a:pos x="T8" y="T9"/>
                </a:cxn>
              </a:cxnLst>
              <a:rect l="0" t="0" r="r" b="b"/>
              <a:pathLst>
                <a:path w="159" h="3468">
                  <a:moveTo>
                    <a:pt x="158" y="3467"/>
                  </a:moveTo>
                  <a:lnTo>
                    <a:pt x="0" y="3467"/>
                  </a:lnTo>
                  <a:lnTo>
                    <a:pt x="0" y="0"/>
                  </a:lnTo>
                  <a:lnTo>
                    <a:pt x="158" y="0"/>
                  </a:lnTo>
                  <a:lnTo>
                    <a:pt x="158" y="3467"/>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grpSp>
      <p:sp>
        <p:nvSpPr>
          <p:cNvPr id="44" name="Title 1"/>
          <p:cNvSpPr>
            <a:spLocks noGrp="1"/>
          </p:cNvSpPr>
          <p:nvPr>
            <p:ph type="title" hasCustomPrompt="1"/>
          </p:nvPr>
        </p:nvSpPr>
        <p:spPr>
          <a:xfrm>
            <a:off x="4783942" y="684759"/>
            <a:ext cx="5834669" cy="2100544"/>
          </a:xfrm>
          <a:prstGeom prst="rect">
            <a:avLst/>
          </a:prstGeom>
        </p:spPr>
        <p:txBody>
          <a:bodyPr tIns="0" bIns="0" anchor="b" anchorCtr="0">
            <a:noAutofit/>
          </a:bodyPr>
          <a:lstStyle>
            <a:lvl1pPr algn="l" defTabSz="609585" rtl="0" eaLnBrk="1" fontAlgn="base" latinLnBrk="0" hangingPunct="1">
              <a:lnSpc>
                <a:spcPct val="90000"/>
              </a:lnSpc>
              <a:spcBef>
                <a:spcPct val="0"/>
              </a:spcBef>
              <a:spcAft>
                <a:spcPct val="0"/>
              </a:spcAft>
              <a:buNone/>
              <a:defRPr lang="en-US" sz="4000" b="1" kern="1200" cap="all" dirty="0">
                <a:solidFill>
                  <a:schemeClr val="tx1"/>
                </a:solidFill>
                <a:latin typeface="Century Gothic" charset="0"/>
                <a:ea typeface="Century Gothic" charset="0"/>
                <a:cs typeface="Century Gothic" charset="0"/>
              </a:defRPr>
            </a:lvl1pPr>
          </a:lstStyle>
          <a:p>
            <a:r>
              <a:rPr lang="en-US" dirty="0"/>
              <a:t>Main title goes here </a:t>
            </a:r>
            <a:r>
              <a:rPr lang="mr-IN" dirty="0"/>
              <a:t>–</a:t>
            </a:r>
            <a:r>
              <a:rPr lang="en-US" dirty="0"/>
              <a:t> keep it short</a:t>
            </a:r>
          </a:p>
        </p:txBody>
      </p:sp>
      <p:sp>
        <p:nvSpPr>
          <p:cNvPr id="45" name="Rectangle 44"/>
          <p:cNvSpPr/>
          <p:nvPr userDrawn="1"/>
        </p:nvSpPr>
        <p:spPr>
          <a:xfrm>
            <a:off x="4783942" y="2837341"/>
            <a:ext cx="5834669" cy="180923"/>
          </a:xfrm>
          <a:prstGeom prst="rect">
            <a:avLst/>
          </a:prstGeom>
          <a:solidFill>
            <a:srgbClr val="ED1C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0830955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plit Content - 2 Heads">
    <p:spTree>
      <p:nvGrpSpPr>
        <p:cNvPr id="1" name=""/>
        <p:cNvGrpSpPr/>
        <p:nvPr/>
      </p:nvGrpSpPr>
      <p:grpSpPr>
        <a:xfrm>
          <a:off x="0" y="0"/>
          <a:ext cx="0" cy="0"/>
          <a:chOff x="0" y="0"/>
          <a:chExt cx="0" cy="0"/>
        </a:xfrm>
      </p:grpSpPr>
      <p:sp>
        <p:nvSpPr>
          <p:cNvPr id="4" name="Rectangle 3"/>
          <p:cNvSpPr/>
          <p:nvPr userDrawn="1"/>
        </p:nvSpPr>
        <p:spPr>
          <a:xfrm>
            <a:off x="6099176" y="-3175"/>
            <a:ext cx="609282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a:lnSpc>
                <a:spcPct val="112000"/>
              </a:lnSpc>
              <a:spcBef>
                <a:spcPts val="1500"/>
              </a:spcBef>
            </a:pPr>
            <a:endParaRPr lang="en-US" sz="1600" dirty="0">
              <a:solidFill>
                <a:schemeClr val="bg1"/>
              </a:solidFill>
              <a:latin typeface="Arial"/>
              <a:cs typeface="Arial"/>
            </a:endParaRPr>
          </a:p>
        </p:txBody>
      </p:sp>
      <p:sp>
        <p:nvSpPr>
          <p:cNvPr id="2" name="Title 1"/>
          <p:cNvSpPr>
            <a:spLocks noGrp="1"/>
          </p:cNvSpPr>
          <p:nvPr>
            <p:ph type="title" hasCustomPrompt="1"/>
          </p:nvPr>
        </p:nvSpPr>
        <p:spPr>
          <a:xfrm>
            <a:off x="609603" y="274639"/>
            <a:ext cx="5124893" cy="1143000"/>
          </a:xfrm>
        </p:spPr>
        <p:txBody>
          <a:bodyPr/>
          <a:lstStyle>
            <a:lvl1pPr>
              <a:defRPr baseline="0"/>
            </a:lvl1pPr>
          </a:lstStyle>
          <a:p>
            <a:r>
              <a:rPr lang="en-US" dirty="0"/>
              <a:t>Split Slide – 2 Heads</a:t>
            </a:r>
          </a:p>
        </p:txBody>
      </p:sp>
      <p:sp>
        <p:nvSpPr>
          <p:cNvPr id="3" name="Content Placeholder 2"/>
          <p:cNvSpPr>
            <a:spLocks noGrp="1"/>
          </p:cNvSpPr>
          <p:nvPr>
            <p:ph idx="1"/>
          </p:nvPr>
        </p:nvSpPr>
        <p:spPr>
          <a:xfrm>
            <a:off x="609603" y="1540437"/>
            <a:ext cx="5124895" cy="46333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609603" y="6356355"/>
            <a:ext cx="5124895" cy="365125"/>
          </a:xfrm>
        </p:spPr>
        <p:txBody>
          <a:bodyPr/>
          <a:lstStyle/>
          <a:p>
            <a:r>
              <a:rPr lang="en-US"/>
              <a:t>annalect.com</a:t>
            </a:r>
          </a:p>
        </p:txBody>
      </p:sp>
      <p:sp>
        <p:nvSpPr>
          <p:cNvPr id="10" name="Oval 9"/>
          <p:cNvSpPr/>
          <p:nvPr userDrawn="1"/>
        </p:nvSpPr>
        <p:spPr>
          <a:xfrm>
            <a:off x="11582401" y="273465"/>
            <a:ext cx="347563" cy="347472"/>
          </a:xfrm>
          <a:prstGeom prst="ellipse">
            <a:avLst/>
          </a:prstGeom>
          <a:solidFill>
            <a:srgbClr val="99999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5"/>
              </a:solidFill>
              <a:latin typeface="Arial"/>
            </a:endParaRPr>
          </a:p>
        </p:txBody>
      </p:sp>
      <p:sp>
        <p:nvSpPr>
          <p:cNvPr id="14" name="Slide Number Placeholder 5"/>
          <p:cNvSpPr>
            <a:spLocks noGrp="1"/>
          </p:cNvSpPr>
          <p:nvPr>
            <p:ph type="sldNum" sz="quarter" idx="4"/>
          </p:nvPr>
        </p:nvSpPr>
        <p:spPr>
          <a:xfrm>
            <a:off x="11582401" y="274640"/>
            <a:ext cx="347563" cy="346299"/>
          </a:xfrm>
          <a:prstGeom prst="rect">
            <a:avLst/>
          </a:prstGeom>
        </p:spPr>
        <p:txBody>
          <a:bodyPr vert="horz" lIns="0" tIns="0" rIns="0" bIns="18288" rtlCol="0" anchor="ctr"/>
          <a:lstStyle>
            <a:lvl1pPr algn="ctr">
              <a:defRPr sz="1200">
                <a:solidFill>
                  <a:schemeClr val="bg1"/>
                </a:solidFill>
              </a:defRPr>
            </a:lvl1pPr>
          </a:lstStyle>
          <a:p>
            <a:fld id="{A732B65F-C469-8E45-BF68-68AA1785A236}" type="slidenum">
              <a:rPr lang="en-US" smtClean="0"/>
              <a:pPr/>
              <a:t>‹#›</a:t>
            </a:fld>
            <a:endParaRPr lang="en-US" dirty="0"/>
          </a:p>
        </p:txBody>
      </p:sp>
      <p:sp>
        <p:nvSpPr>
          <p:cNvPr id="11" name="Content Placeholder 2"/>
          <p:cNvSpPr>
            <a:spLocks noGrp="1"/>
          </p:cNvSpPr>
          <p:nvPr>
            <p:ph idx="12"/>
          </p:nvPr>
        </p:nvSpPr>
        <p:spPr>
          <a:xfrm>
            <a:off x="6457507" y="1540437"/>
            <a:ext cx="5124895" cy="46333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hasCustomPrompt="1"/>
          </p:nvPr>
        </p:nvSpPr>
        <p:spPr>
          <a:xfrm>
            <a:off x="6457505" y="273051"/>
            <a:ext cx="5124896" cy="1144588"/>
          </a:xfrm>
        </p:spPr>
        <p:txBody>
          <a:bodyPr anchor="ctr">
            <a:normAutofit/>
          </a:bodyPr>
          <a:lstStyle>
            <a:lvl1pPr algn="l" defTabSz="457178" rtl="0" eaLnBrk="1" latinLnBrk="0" hangingPunct="1">
              <a:lnSpc>
                <a:spcPct val="80000"/>
              </a:lnSpc>
              <a:spcBef>
                <a:spcPct val="0"/>
              </a:spcBef>
              <a:buNone/>
              <a:defRPr lang="en-US" sz="4000" b="1" i="0" kern="1200" spc="-131" baseline="0" dirty="0">
                <a:solidFill>
                  <a:schemeClr val="accent3"/>
                </a:solidFill>
                <a:latin typeface="Arial"/>
                <a:ea typeface="+mj-ea"/>
                <a:cs typeface="Arial"/>
              </a:defRPr>
            </a:lvl1pPr>
          </a:lstStyle>
          <a:p>
            <a:pPr lvl="0"/>
            <a:r>
              <a:rPr lang="en-US" dirty="0"/>
              <a:t>Split Slide – 2 Heads</a:t>
            </a:r>
          </a:p>
        </p:txBody>
      </p:sp>
      <p:grpSp>
        <p:nvGrpSpPr>
          <p:cNvPr id="12" name="Group 9"/>
          <p:cNvGrpSpPr>
            <a:grpSpLocks/>
          </p:cNvGrpSpPr>
          <p:nvPr userDrawn="1"/>
        </p:nvGrpSpPr>
        <p:grpSpPr bwMode="auto">
          <a:xfrm>
            <a:off x="9968025" y="6523567"/>
            <a:ext cx="1610784" cy="201084"/>
            <a:chOff x="20638" y="3136900"/>
            <a:chExt cx="10080625" cy="1268413"/>
          </a:xfrm>
        </p:grpSpPr>
        <p:sp>
          <p:nvSpPr>
            <p:cNvPr id="13" name="Freeform 1"/>
            <p:cNvSpPr>
              <a:spLocks noChangeArrowheads="1"/>
            </p:cNvSpPr>
            <p:nvPr/>
          </p:nvSpPr>
          <p:spPr bwMode="auto">
            <a:xfrm>
              <a:off x="8087788" y="3136900"/>
              <a:ext cx="2013475" cy="1241710"/>
            </a:xfrm>
            <a:custGeom>
              <a:avLst/>
              <a:gdLst>
                <a:gd name="T0" fmla="*/ 4671 w 5590"/>
                <a:gd name="T1" fmla="*/ 986 h 3468"/>
                <a:gd name="T2" fmla="*/ 4671 w 5590"/>
                <a:gd name="T3" fmla="*/ 986 h 3468"/>
                <a:gd name="T4" fmla="*/ 4070 w 5590"/>
                <a:gd name="T5" fmla="*/ 986 h 3468"/>
                <a:gd name="T6" fmla="*/ 4070 w 5590"/>
                <a:gd name="T7" fmla="*/ 0 h 3468"/>
                <a:gd name="T8" fmla="*/ 3333 w 5590"/>
                <a:gd name="T9" fmla="*/ 0 h 3468"/>
                <a:gd name="T10" fmla="*/ 3038 w 5590"/>
                <a:gd name="T11" fmla="*/ 544 h 3468"/>
                <a:gd name="T12" fmla="*/ 2732 w 5590"/>
                <a:gd name="T13" fmla="*/ 0 h 3468"/>
                <a:gd name="T14" fmla="*/ 2006 w 5590"/>
                <a:gd name="T15" fmla="*/ 0 h 3468"/>
                <a:gd name="T16" fmla="*/ 2006 w 5590"/>
                <a:gd name="T17" fmla="*/ 1337 h 3468"/>
                <a:gd name="T18" fmla="*/ 1236 w 5590"/>
                <a:gd name="T19" fmla="*/ 1076 h 3468"/>
                <a:gd name="T20" fmla="*/ 352 w 5590"/>
                <a:gd name="T21" fmla="*/ 1428 h 3468"/>
                <a:gd name="T22" fmla="*/ 91 w 5590"/>
                <a:gd name="T23" fmla="*/ 1812 h 3468"/>
                <a:gd name="T24" fmla="*/ 0 w 5590"/>
                <a:gd name="T25" fmla="*/ 2277 h 3468"/>
                <a:gd name="T26" fmla="*/ 0 w 5590"/>
                <a:gd name="T27" fmla="*/ 2277 h 3468"/>
                <a:gd name="T28" fmla="*/ 352 w 5590"/>
                <a:gd name="T29" fmla="*/ 3127 h 3468"/>
                <a:gd name="T30" fmla="*/ 1236 w 5590"/>
                <a:gd name="T31" fmla="*/ 3467 h 3468"/>
                <a:gd name="T32" fmla="*/ 2108 w 5590"/>
                <a:gd name="T33" fmla="*/ 3116 h 3468"/>
                <a:gd name="T34" fmla="*/ 2369 w 5590"/>
                <a:gd name="T35" fmla="*/ 2742 h 3468"/>
                <a:gd name="T36" fmla="*/ 2460 w 5590"/>
                <a:gd name="T37" fmla="*/ 2277 h 3468"/>
                <a:gd name="T38" fmla="*/ 2460 w 5590"/>
                <a:gd name="T39" fmla="*/ 2266 h 3468"/>
                <a:gd name="T40" fmla="*/ 2369 w 5590"/>
                <a:gd name="T41" fmla="*/ 1812 h 3468"/>
                <a:gd name="T42" fmla="*/ 2641 w 5590"/>
                <a:gd name="T43" fmla="*/ 1812 h 3468"/>
                <a:gd name="T44" fmla="*/ 2641 w 5590"/>
                <a:gd name="T45" fmla="*/ 1076 h 3468"/>
                <a:gd name="T46" fmla="*/ 3038 w 5590"/>
                <a:gd name="T47" fmla="*/ 1643 h 3468"/>
                <a:gd name="T48" fmla="*/ 3423 w 5590"/>
                <a:gd name="T49" fmla="*/ 1076 h 3468"/>
                <a:gd name="T50" fmla="*/ 3423 w 5590"/>
                <a:gd name="T51" fmla="*/ 1812 h 3468"/>
                <a:gd name="T52" fmla="*/ 4070 w 5590"/>
                <a:gd name="T53" fmla="*/ 1812 h 3468"/>
                <a:gd name="T54" fmla="*/ 4070 w 5590"/>
                <a:gd name="T55" fmla="*/ 2549 h 3468"/>
                <a:gd name="T56" fmla="*/ 4648 w 5590"/>
                <a:gd name="T57" fmla="*/ 2549 h 3468"/>
                <a:gd name="T58" fmla="*/ 5589 w 5590"/>
                <a:gd name="T59" fmla="*/ 1757 h 3468"/>
                <a:gd name="T60" fmla="*/ 5589 w 5590"/>
                <a:gd name="T61" fmla="*/ 1757 h 3468"/>
                <a:gd name="T62" fmla="*/ 4671 w 5590"/>
                <a:gd name="T63" fmla="*/ 986 h 3468"/>
                <a:gd name="T64" fmla="*/ 1621 w 5590"/>
                <a:gd name="T65" fmla="*/ 2277 h 3468"/>
                <a:gd name="T66" fmla="*/ 1621 w 5590"/>
                <a:gd name="T67" fmla="*/ 2277 h 3468"/>
                <a:gd name="T68" fmla="*/ 1236 w 5590"/>
                <a:gd name="T69" fmla="*/ 2685 h 3468"/>
                <a:gd name="T70" fmla="*/ 839 w 5590"/>
                <a:gd name="T71" fmla="*/ 2277 h 3468"/>
                <a:gd name="T72" fmla="*/ 839 w 5590"/>
                <a:gd name="T73" fmla="*/ 2266 h 3468"/>
                <a:gd name="T74" fmla="*/ 1236 w 5590"/>
                <a:gd name="T75" fmla="*/ 1858 h 3468"/>
                <a:gd name="T76" fmla="*/ 1621 w 5590"/>
                <a:gd name="T77" fmla="*/ 2277 h 3468"/>
                <a:gd name="T78" fmla="*/ 4671 w 5590"/>
                <a:gd name="T79" fmla="*/ 986 h 3468"/>
                <a:gd name="T80" fmla="*/ 5033 w 5590"/>
                <a:gd name="T81" fmla="*/ 1767 h 3468"/>
                <a:gd name="T82" fmla="*/ 5033 w 5590"/>
                <a:gd name="T83" fmla="*/ 1767 h 3468"/>
                <a:gd name="T84" fmla="*/ 4693 w 5590"/>
                <a:gd name="T85" fmla="*/ 2039 h 3468"/>
                <a:gd name="T86" fmla="*/ 4625 w 5590"/>
                <a:gd name="T87" fmla="*/ 2039 h 3468"/>
                <a:gd name="T88" fmla="*/ 4625 w 5590"/>
                <a:gd name="T89" fmla="*/ 1484 h 3468"/>
                <a:gd name="T90" fmla="*/ 4693 w 5590"/>
                <a:gd name="T91" fmla="*/ 1484 h 3468"/>
                <a:gd name="T92" fmla="*/ 5033 w 5590"/>
                <a:gd name="T93" fmla="*/ 1767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0" h="3468">
                  <a:moveTo>
                    <a:pt x="4671" y="986"/>
                  </a:moveTo>
                  <a:lnTo>
                    <a:pt x="4671" y="986"/>
                  </a:lnTo>
                  <a:cubicBezTo>
                    <a:pt x="4070" y="986"/>
                    <a:pt x="4070" y="986"/>
                    <a:pt x="4070" y="986"/>
                  </a:cubicBezTo>
                  <a:cubicBezTo>
                    <a:pt x="4070" y="0"/>
                    <a:pt x="4070" y="0"/>
                    <a:pt x="4070" y="0"/>
                  </a:cubicBezTo>
                  <a:cubicBezTo>
                    <a:pt x="3333" y="0"/>
                    <a:pt x="3333" y="0"/>
                    <a:pt x="3333" y="0"/>
                  </a:cubicBezTo>
                  <a:cubicBezTo>
                    <a:pt x="3038" y="544"/>
                    <a:pt x="3038" y="544"/>
                    <a:pt x="3038" y="544"/>
                  </a:cubicBezTo>
                  <a:cubicBezTo>
                    <a:pt x="2732" y="0"/>
                    <a:pt x="2732" y="0"/>
                    <a:pt x="2732" y="0"/>
                  </a:cubicBezTo>
                  <a:cubicBezTo>
                    <a:pt x="2006" y="0"/>
                    <a:pt x="2006" y="0"/>
                    <a:pt x="2006" y="0"/>
                  </a:cubicBezTo>
                  <a:cubicBezTo>
                    <a:pt x="2006" y="1337"/>
                    <a:pt x="2006" y="1337"/>
                    <a:pt x="2006" y="1337"/>
                  </a:cubicBezTo>
                  <a:cubicBezTo>
                    <a:pt x="1791" y="1167"/>
                    <a:pt x="1519" y="1076"/>
                    <a:pt x="1236" y="1076"/>
                  </a:cubicBezTo>
                  <a:cubicBezTo>
                    <a:pt x="896" y="1076"/>
                    <a:pt x="590" y="1201"/>
                    <a:pt x="352" y="1428"/>
                  </a:cubicBezTo>
                  <a:cubicBezTo>
                    <a:pt x="238" y="1541"/>
                    <a:pt x="159" y="1666"/>
                    <a:pt x="91" y="1812"/>
                  </a:cubicBezTo>
                  <a:cubicBezTo>
                    <a:pt x="34" y="1960"/>
                    <a:pt x="0" y="2107"/>
                    <a:pt x="0" y="2277"/>
                  </a:cubicBezTo>
                  <a:lnTo>
                    <a:pt x="0" y="2277"/>
                  </a:lnTo>
                  <a:cubicBezTo>
                    <a:pt x="0" y="2606"/>
                    <a:pt x="125" y="2901"/>
                    <a:pt x="352" y="3127"/>
                  </a:cubicBezTo>
                  <a:cubicBezTo>
                    <a:pt x="578" y="3342"/>
                    <a:pt x="896" y="3467"/>
                    <a:pt x="1236" y="3467"/>
                  </a:cubicBezTo>
                  <a:cubicBezTo>
                    <a:pt x="1564" y="3467"/>
                    <a:pt x="1882" y="3342"/>
                    <a:pt x="2108" y="3116"/>
                  </a:cubicBezTo>
                  <a:cubicBezTo>
                    <a:pt x="2222" y="3014"/>
                    <a:pt x="2313" y="2878"/>
                    <a:pt x="2369" y="2742"/>
                  </a:cubicBezTo>
                  <a:cubicBezTo>
                    <a:pt x="2426" y="2594"/>
                    <a:pt x="2460" y="2436"/>
                    <a:pt x="2460" y="2277"/>
                  </a:cubicBezTo>
                  <a:cubicBezTo>
                    <a:pt x="2460" y="2266"/>
                    <a:pt x="2460" y="2266"/>
                    <a:pt x="2460" y="2266"/>
                  </a:cubicBezTo>
                  <a:cubicBezTo>
                    <a:pt x="2460" y="2107"/>
                    <a:pt x="2437" y="1960"/>
                    <a:pt x="2369" y="1812"/>
                  </a:cubicBezTo>
                  <a:cubicBezTo>
                    <a:pt x="2641" y="1812"/>
                    <a:pt x="2641" y="1812"/>
                    <a:pt x="2641" y="1812"/>
                  </a:cubicBezTo>
                  <a:cubicBezTo>
                    <a:pt x="2641" y="1076"/>
                    <a:pt x="2641" y="1076"/>
                    <a:pt x="2641" y="1076"/>
                  </a:cubicBezTo>
                  <a:cubicBezTo>
                    <a:pt x="3038" y="1643"/>
                    <a:pt x="3038" y="1643"/>
                    <a:pt x="3038" y="1643"/>
                  </a:cubicBezTo>
                  <a:cubicBezTo>
                    <a:pt x="3423" y="1076"/>
                    <a:pt x="3423" y="1076"/>
                    <a:pt x="3423" y="1076"/>
                  </a:cubicBezTo>
                  <a:cubicBezTo>
                    <a:pt x="3423" y="1812"/>
                    <a:pt x="3423" y="1812"/>
                    <a:pt x="3423" y="1812"/>
                  </a:cubicBezTo>
                  <a:cubicBezTo>
                    <a:pt x="4070" y="1812"/>
                    <a:pt x="4070" y="1812"/>
                    <a:pt x="4070" y="1812"/>
                  </a:cubicBezTo>
                  <a:cubicBezTo>
                    <a:pt x="4070" y="2549"/>
                    <a:pt x="4070" y="2549"/>
                    <a:pt x="4070" y="2549"/>
                  </a:cubicBezTo>
                  <a:cubicBezTo>
                    <a:pt x="4648" y="2549"/>
                    <a:pt x="4648" y="2549"/>
                    <a:pt x="4648" y="2549"/>
                  </a:cubicBezTo>
                  <a:cubicBezTo>
                    <a:pt x="5282" y="2549"/>
                    <a:pt x="5589" y="2209"/>
                    <a:pt x="5589" y="1757"/>
                  </a:cubicBezTo>
                  <a:lnTo>
                    <a:pt x="5589" y="1757"/>
                  </a:lnTo>
                  <a:cubicBezTo>
                    <a:pt x="5589" y="1360"/>
                    <a:pt x="5294" y="986"/>
                    <a:pt x="4671" y="986"/>
                  </a:cubicBezTo>
                  <a:lnTo>
                    <a:pt x="1621" y="2277"/>
                  </a:lnTo>
                  <a:lnTo>
                    <a:pt x="1621" y="2277"/>
                  </a:lnTo>
                  <a:cubicBezTo>
                    <a:pt x="1621" y="2493"/>
                    <a:pt x="1485" y="2685"/>
                    <a:pt x="1236" y="2685"/>
                  </a:cubicBezTo>
                  <a:cubicBezTo>
                    <a:pt x="975" y="2685"/>
                    <a:pt x="839" y="2493"/>
                    <a:pt x="839" y="2277"/>
                  </a:cubicBezTo>
                  <a:cubicBezTo>
                    <a:pt x="839" y="2266"/>
                    <a:pt x="839" y="2266"/>
                    <a:pt x="839" y="2266"/>
                  </a:cubicBezTo>
                  <a:cubicBezTo>
                    <a:pt x="839" y="2062"/>
                    <a:pt x="975" y="1858"/>
                    <a:pt x="1236" y="1858"/>
                  </a:cubicBezTo>
                  <a:cubicBezTo>
                    <a:pt x="1485" y="1858"/>
                    <a:pt x="1621" y="2062"/>
                    <a:pt x="1621" y="2277"/>
                  </a:cubicBezTo>
                  <a:lnTo>
                    <a:pt x="4671" y="986"/>
                  </a:lnTo>
                  <a:close/>
                  <a:moveTo>
                    <a:pt x="5033" y="1767"/>
                  </a:moveTo>
                  <a:lnTo>
                    <a:pt x="5033" y="1767"/>
                  </a:lnTo>
                  <a:cubicBezTo>
                    <a:pt x="5033" y="1960"/>
                    <a:pt x="4897" y="2039"/>
                    <a:pt x="4693" y="2039"/>
                  </a:cubicBezTo>
                  <a:cubicBezTo>
                    <a:pt x="4625" y="2039"/>
                    <a:pt x="4625" y="2039"/>
                    <a:pt x="4625" y="2039"/>
                  </a:cubicBezTo>
                  <a:cubicBezTo>
                    <a:pt x="4625" y="1484"/>
                    <a:pt x="4625" y="1484"/>
                    <a:pt x="4625" y="1484"/>
                  </a:cubicBezTo>
                  <a:cubicBezTo>
                    <a:pt x="4693" y="1484"/>
                    <a:pt x="4693" y="1484"/>
                    <a:pt x="4693" y="1484"/>
                  </a:cubicBezTo>
                  <a:cubicBezTo>
                    <a:pt x="4897" y="1484"/>
                    <a:pt x="5033" y="1575"/>
                    <a:pt x="5033" y="1767"/>
                  </a:cubicBezTo>
                  <a:close/>
                </a:path>
              </a:pathLst>
            </a:custGeom>
            <a:solidFill>
              <a:srgbClr val="EE3124"/>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15" name="Freeform 2"/>
            <p:cNvSpPr>
              <a:spLocks noChangeArrowheads="1"/>
            </p:cNvSpPr>
            <p:nvPr/>
          </p:nvSpPr>
          <p:spPr bwMode="auto">
            <a:xfrm>
              <a:off x="20638" y="3430637"/>
              <a:ext cx="675578" cy="654236"/>
            </a:xfrm>
            <a:custGeom>
              <a:avLst/>
              <a:gdLst>
                <a:gd name="T0" fmla="*/ 1746 w 1883"/>
                <a:gd name="T1" fmla="*/ 0 h 1803"/>
                <a:gd name="T2" fmla="*/ 1746 w 1883"/>
                <a:gd name="T3" fmla="*/ 0 h 1803"/>
                <a:gd name="T4" fmla="*/ 1882 w 1883"/>
                <a:gd name="T5" fmla="*/ 1802 h 1803"/>
                <a:gd name="T6" fmla="*/ 1700 w 1883"/>
                <a:gd name="T7" fmla="*/ 1802 h 1803"/>
                <a:gd name="T8" fmla="*/ 1621 w 1883"/>
                <a:gd name="T9" fmla="*/ 680 h 1803"/>
                <a:gd name="T10" fmla="*/ 1598 w 1883"/>
                <a:gd name="T11" fmla="*/ 193 h 1803"/>
                <a:gd name="T12" fmla="*/ 1598 w 1883"/>
                <a:gd name="T13" fmla="*/ 193 h 1803"/>
                <a:gd name="T14" fmla="*/ 1451 w 1883"/>
                <a:gd name="T15" fmla="*/ 657 h 1803"/>
                <a:gd name="T16" fmla="*/ 1020 w 1883"/>
                <a:gd name="T17" fmla="*/ 1802 h 1803"/>
                <a:gd name="T18" fmla="*/ 862 w 1883"/>
                <a:gd name="T19" fmla="*/ 1802 h 1803"/>
                <a:gd name="T20" fmla="*/ 442 w 1883"/>
                <a:gd name="T21" fmla="*/ 657 h 1803"/>
                <a:gd name="T22" fmla="*/ 283 w 1883"/>
                <a:gd name="T23" fmla="*/ 193 h 1803"/>
                <a:gd name="T24" fmla="*/ 283 w 1883"/>
                <a:gd name="T25" fmla="*/ 193 h 1803"/>
                <a:gd name="T26" fmla="*/ 260 w 1883"/>
                <a:gd name="T27" fmla="*/ 657 h 1803"/>
                <a:gd name="T28" fmla="*/ 181 w 1883"/>
                <a:gd name="T29" fmla="*/ 1802 h 1803"/>
                <a:gd name="T30" fmla="*/ 0 w 1883"/>
                <a:gd name="T31" fmla="*/ 1802 h 1803"/>
                <a:gd name="T32" fmla="*/ 147 w 1883"/>
                <a:gd name="T33" fmla="*/ 0 h 1803"/>
                <a:gd name="T34" fmla="*/ 385 w 1883"/>
                <a:gd name="T35" fmla="*/ 0 h 1803"/>
                <a:gd name="T36" fmla="*/ 793 w 1883"/>
                <a:gd name="T37" fmla="*/ 1121 h 1803"/>
                <a:gd name="T38" fmla="*/ 941 w 1883"/>
                <a:gd name="T39" fmla="*/ 1575 h 1803"/>
                <a:gd name="T40" fmla="*/ 941 w 1883"/>
                <a:gd name="T41" fmla="*/ 1575 h 1803"/>
                <a:gd name="T42" fmla="*/ 1099 w 1883"/>
                <a:gd name="T43" fmla="*/ 1133 h 1803"/>
                <a:gd name="T44" fmla="*/ 1508 w 1883"/>
                <a:gd name="T45" fmla="*/ 0 h 1803"/>
                <a:gd name="T46" fmla="*/ 1746 w 1883"/>
                <a:gd name="T47" fmla="*/ 0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83" h="1803">
                  <a:moveTo>
                    <a:pt x="1746" y="0"/>
                  </a:moveTo>
                  <a:lnTo>
                    <a:pt x="1746" y="0"/>
                  </a:lnTo>
                  <a:cubicBezTo>
                    <a:pt x="1882" y="1802"/>
                    <a:pt x="1882" y="1802"/>
                    <a:pt x="1882" y="1802"/>
                  </a:cubicBezTo>
                  <a:cubicBezTo>
                    <a:pt x="1700" y="1802"/>
                    <a:pt x="1700" y="1802"/>
                    <a:pt x="1700" y="1802"/>
                  </a:cubicBezTo>
                  <a:cubicBezTo>
                    <a:pt x="1621" y="680"/>
                    <a:pt x="1621" y="680"/>
                    <a:pt x="1621" y="680"/>
                  </a:cubicBezTo>
                  <a:cubicBezTo>
                    <a:pt x="1610" y="521"/>
                    <a:pt x="1610" y="295"/>
                    <a:pt x="1598" y="193"/>
                  </a:cubicBezTo>
                  <a:lnTo>
                    <a:pt x="1598" y="193"/>
                  </a:lnTo>
                  <a:cubicBezTo>
                    <a:pt x="1575" y="295"/>
                    <a:pt x="1508" y="510"/>
                    <a:pt x="1451" y="657"/>
                  </a:cubicBezTo>
                  <a:cubicBezTo>
                    <a:pt x="1020" y="1802"/>
                    <a:pt x="1020" y="1802"/>
                    <a:pt x="1020" y="1802"/>
                  </a:cubicBezTo>
                  <a:cubicBezTo>
                    <a:pt x="862" y="1802"/>
                    <a:pt x="862" y="1802"/>
                    <a:pt x="862" y="1802"/>
                  </a:cubicBezTo>
                  <a:cubicBezTo>
                    <a:pt x="442" y="657"/>
                    <a:pt x="442" y="657"/>
                    <a:pt x="442" y="657"/>
                  </a:cubicBezTo>
                  <a:cubicBezTo>
                    <a:pt x="374" y="488"/>
                    <a:pt x="306" y="284"/>
                    <a:pt x="283" y="193"/>
                  </a:cubicBezTo>
                  <a:lnTo>
                    <a:pt x="283" y="193"/>
                  </a:lnTo>
                  <a:cubicBezTo>
                    <a:pt x="283" y="238"/>
                    <a:pt x="272" y="510"/>
                    <a:pt x="260" y="657"/>
                  </a:cubicBezTo>
                  <a:cubicBezTo>
                    <a:pt x="181" y="1802"/>
                    <a:pt x="181" y="1802"/>
                    <a:pt x="181" y="1802"/>
                  </a:cubicBezTo>
                  <a:cubicBezTo>
                    <a:pt x="0" y="1802"/>
                    <a:pt x="0" y="1802"/>
                    <a:pt x="0" y="1802"/>
                  </a:cubicBezTo>
                  <a:cubicBezTo>
                    <a:pt x="147" y="0"/>
                    <a:pt x="147" y="0"/>
                    <a:pt x="147" y="0"/>
                  </a:cubicBezTo>
                  <a:cubicBezTo>
                    <a:pt x="385" y="0"/>
                    <a:pt x="385" y="0"/>
                    <a:pt x="385" y="0"/>
                  </a:cubicBezTo>
                  <a:cubicBezTo>
                    <a:pt x="793" y="1121"/>
                    <a:pt x="793" y="1121"/>
                    <a:pt x="793" y="1121"/>
                  </a:cubicBezTo>
                  <a:cubicBezTo>
                    <a:pt x="850" y="1291"/>
                    <a:pt x="895" y="1450"/>
                    <a:pt x="941" y="1575"/>
                  </a:cubicBezTo>
                  <a:lnTo>
                    <a:pt x="941" y="1575"/>
                  </a:lnTo>
                  <a:cubicBezTo>
                    <a:pt x="986" y="1427"/>
                    <a:pt x="1043" y="1280"/>
                    <a:pt x="1099" y="1133"/>
                  </a:cubicBezTo>
                  <a:cubicBezTo>
                    <a:pt x="1508" y="0"/>
                    <a:pt x="1508" y="0"/>
                    <a:pt x="1508" y="0"/>
                  </a:cubicBezTo>
                  <a:lnTo>
                    <a:pt x="1746" y="0"/>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16" name="Freeform 3"/>
            <p:cNvSpPr>
              <a:spLocks noChangeArrowheads="1"/>
            </p:cNvSpPr>
            <p:nvPr/>
          </p:nvSpPr>
          <p:spPr bwMode="auto">
            <a:xfrm>
              <a:off x="828681" y="3617560"/>
              <a:ext cx="370903" cy="480660"/>
            </a:xfrm>
            <a:custGeom>
              <a:avLst/>
              <a:gdLst>
                <a:gd name="T0" fmla="*/ 124 w 1021"/>
                <a:gd name="T1" fmla="*/ 283 h 1326"/>
                <a:gd name="T2" fmla="*/ 124 w 1021"/>
                <a:gd name="T3" fmla="*/ 283 h 1326"/>
                <a:gd name="T4" fmla="*/ 79 w 1021"/>
                <a:gd name="T5" fmla="*/ 147 h 1326"/>
                <a:gd name="T6" fmla="*/ 578 w 1021"/>
                <a:gd name="T7" fmla="*/ 0 h 1326"/>
                <a:gd name="T8" fmla="*/ 997 w 1021"/>
                <a:gd name="T9" fmla="*/ 419 h 1326"/>
                <a:gd name="T10" fmla="*/ 997 w 1021"/>
                <a:gd name="T11" fmla="*/ 1008 h 1326"/>
                <a:gd name="T12" fmla="*/ 1020 w 1021"/>
                <a:gd name="T13" fmla="*/ 1303 h 1326"/>
                <a:gd name="T14" fmla="*/ 861 w 1021"/>
                <a:gd name="T15" fmla="*/ 1303 h 1326"/>
                <a:gd name="T16" fmla="*/ 827 w 1021"/>
                <a:gd name="T17" fmla="*/ 1132 h 1326"/>
                <a:gd name="T18" fmla="*/ 396 w 1021"/>
                <a:gd name="T19" fmla="*/ 1325 h 1326"/>
                <a:gd name="T20" fmla="*/ 0 w 1021"/>
                <a:gd name="T21" fmla="*/ 940 h 1326"/>
                <a:gd name="T22" fmla="*/ 601 w 1021"/>
                <a:gd name="T23" fmla="*/ 520 h 1326"/>
                <a:gd name="T24" fmla="*/ 827 w 1021"/>
                <a:gd name="T25" fmla="*/ 543 h 1326"/>
                <a:gd name="T26" fmla="*/ 827 w 1021"/>
                <a:gd name="T27" fmla="*/ 431 h 1326"/>
                <a:gd name="T28" fmla="*/ 555 w 1021"/>
                <a:gd name="T29" fmla="*/ 147 h 1326"/>
                <a:gd name="T30" fmla="*/ 124 w 1021"/>
                <a:gd name="T31" fmla="*/ 283 h 1326"/>
                <a:gd name="T32" fmla="*/ 827 w 1021"/>
                <a:gd name="T33" fmla="*/ 668 h 1326"/>
                <a:gd name="T34" fmla="*/ 827 w 1021"/>
                <a:gd name="T35" fmla="*/ 668 h 1326"/>
                <a:gd name="T36" fmla="*/ 601 w 1021"/>
                <a:gd name="T37" fmla="*/ 645 h 1326"/>
                <a:gd name="T38" fmla="*/ 170 w 1021"/>
                <a:gd name="T39" fmla="*/ 928 h 1326"/>
                <a:gd name="T40" fmla="*/ 419 w 1021"/>
                <a:gd name="T41" fmla="*/ 1189 h 1326"/>
                <a:gd name="T42" fmla="*/ 827 w 1021"/>
                <a:gd name="T43" fmla="*/ 996 h 1326"/>
                <a:gd name="T44" fmla="*/ 827 w 1021"/>
                <a:gd name="T45" fmla="*/ 668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1" h="1326">
                  <a:moveTo>
                    <a:pt x="124" y="283"/>
                  </a:moveTo>
                  <a:lnTo>
                    <a:pt x="124" y="283"/>
                  </a:lnTo>
                  <a:cubicBezTo>
                    <a:pt x="79" y="147"/>
                    <a:pt x="79" y="147"/>
                    <a:pt x="79" y="147"/>
                  </a:cubicBezTo>
                  <a:cubicBezTo>
                    <a:pt x="204" y="68"/>
                    <a:pt x="385" y="0"/>
                    <a:pt x="578" y="0"/>
                  </a:cubicBezTo>
                  <a:cubicBezTo>
                    <a:pt x="839" y="0"/>
                    <a:pt x="997" y="113"/>
                    <a:pt x="997" y="419"/>
                  </a:cubicBezTo>
                  <a:cubicBezTo>
                    <a:pt x="997" y="1008"/>
                    <a:pt x="997" y="1008"/>
                    <a:pt x="997" y="1008"/>
                  </a:cubicBezTo>
                  <a:cubicBezTo>
                    <a:pt x="997" y="1200"/>
                    <a:pt x="1008" y="1268"/>
                    <a:pt x="1020" y="1303"/>
                  </a:cubicBezTo>
                  <a:cubicBezTo>
                    <a:pt x="861" y="1303"/>
                    <a:pt x="861" y="1303"/>
                    <a:pt x="861" y="1303"/>
                  </a:cubicBezTo>
                  <a:cubicBezTo>
                    <a:pt x="839" y="1280"/>
                    <a:pt x="827" y="1234"/>
                    <a:pt x="827" y="1132"/>
                  </a:cubicBezTo>
                  <a:cubicBezTo>
                    <a:pt x="714" y="1257"/>
                    <a:pt x="555" y="1325"/>
                    <a:pt x="396" y="1325"/>
                  </a:cubicBezTo>
                  <a:cubicBezTo>
                    <a:pt x="170" y="1325"/>
                    <a:pt x="0" y="1200"/>
                    <a:pt x="0" y="940"/>
                  </a:cubicBezTo>
                  <a:cubicBezTo>
                    <a:pt x="0" y="679"/>
                    <a:pt x="193" y="520"/>
                    <a:pt x="601" y="520"/>
                  </a:cubicBezTo>
                  <a:cubicBezTo>
                    <a:pt x="657" y="520"/>
                    <a:pt x="725" y="520"/>
                    <a:pt x="827" y="543"/>
                  </a:cubicBezTo>
                  <a:cubicBezTo>
                    <a:pt x="827" y="431"/>
                    <a:pt x="827" y="431"/>
                    <a:pt x="827" y="431"/>
                  </a:cubicBezTo>
                  <a:cubicBezTo>
                    <a:pt x="827" y="227"/>
                    <a:pt x="737" y="147"/>
                    <a:pt x="555" y="147"/>
                  </a:cubicBezTo>
                  <a:cubicBezTo>
                    <a:pt x="396" y="147"/>
                    <a:pt x="260" y="204"/>
                    <a:pt x="124" y="283"/>
                  </a:cubicBezTo>
                  <a:close/>
                  <a:moveTo>
                    <a:pt x="827" y="668"/>
                  </a:moveTo>
                  <a:lnTo>
                    <a:pt x="827" y="668"/>
                  </a:lnTo>
                  <a:cubicBezTo>
                    <a:pt x="725" y="656"/>
                    <a:pt x="668" y="645"/>
                    <a:pt x="601" y="645"/>
                  </a:cubicBezTo>
                  <a:cubicBezTo>
                    <a:pt x="295" y="645"/>
                    <a:pt x="170" y="747"/>
                    <a:pt x="170" y="928"/>
                  </a:cubicBezTo>
                  <a:cubicBezTo>
                    <a:pt x="170" y="1098"/>
                    <a:pt x="272" y="1189"/>
                    <a:pt x="419" y="1189"/>
                  </a:cubicBezTo>
                  <a:cubicBezTo>
                    <a:pt x="578" y="1189"/>
                    <a:pt x="714" y="1098"/>
                    <a:pt x="827" y="996"/>
                  </a:cubicBezTo>
                  <a:lnTo>
                    <a:pt x="827" y="668"/>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17" name="Freeform 4"/>
            <p:cNvSpPr>
              <a:spLocks noChangeArrowheads="1"/>
            </p:cNvSpPr>
            <p:nvPr/>
          </p:nvSpPr>
          <p:spPr bwMode="auto">
            <a:xfrm>
              <a:off x="1345293" y="3617560"/>
              <a:ext cx="370903" cy="467313"/>
            </a:xfrm>
            <a:custGeom>
              <a:avLst/>
              <a:gdLst>
                <a:gd name="T0" fmla="*/ 0 w 1033"/>
                <a:gd name="T1" fmla="*/ 34 h 1304"/>
                <a:gd name="T2" fmla="*/ 0 w 1033"/>
                <a:gd name="T3" fmla="*/ 34 h 1304"/>
                <a:gd name="T4" fmla="*/ 170 w 1033"/>
                <a:gd name="T5" fmla="*/ 34 h 1304"/>
                <a:gd name="T6" fmla="*/ 170 w 1033"/>
                <a:gd name="T7" fmla="*/ 227 h 1304"/>
                <a:gd name="T8" fmla="*/ 680 w 1033"/>
                <a:gd name="T9" fmla="*/ 0 h 1304"/>
                <a:gd name="T10" fmla="*/ 1032 w 1033"/>
                <a:gd name="T11" fmla="*/ 351 h 1304"/>
                <a:gd name="T12" fmla="*/ 1032 w 1033"/>
                <a:gd name="T13" fmla="*/ 1303 h 1304"/>
                <a:gd name="T14" fmla="*/ 862 w 1033"/>
                <a:gd name="T15" fmla="*/ 1303 h 1304"/>
                <a:gd name="T16" fmla="*/ 862 w 1033"/>
                <a:gd name="T17" fmla="*/ 385 h 1304"/>
                <a:gd name="T18" fmla="*/ 635 w 1033"/>
                <a:gd name="T19" fmla="*/ 158 h 1304"/>
                <a:gd name="T20" fmla="*/ 170 w 1033"/>
                <a:gd name="T21" fmla="*/ 374 h 1304"/>
                <a:gd name="T22" fmla="*/ 170 w 1033"/>
                <a:gd name="T23" fmla="*/ 1303 h 1304"/>
                <a:gd name="T24" fmla="*/ 0 w 1033"/>
                <a:gd name="T25" fmla="*/ 1303 h 1304"/>
                <a:gd name="T26" fmla="*/ 0 w 1033"/>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3" h="1304">
                  <a:moveTo>
                    <a:pt x="0" y="34"/>
                  </a:moveTo>
                  <a:lnTo>
                    <a:pt x="0" y="34"/>
                  </a:lnTo>
                  <a:cubicBezTo>
                    <a:pt x="170" y="34"/>
                    <a:pt x="170" y="34"/>
                    <a:pt x="170" y="34"/>
                  </a:cubicBezTo>
                  <a:cubicBezTo>
                    <a:pt x="170" y="227"/>
                    <a:pt x="170" y="227"/>
                    <a:pt x="170" y="227"/>
                  </a:cubicBezTo>
                  <a:cubicBezTo>
                    <a:pt x="295" y="102"/>
                    <a:pt x="477" y="0"/>
                    <a:pt x="680" y="0"/>
                  </a:cubicBezTo>
                  <a:cubicBezTo>
                    <a:pt x="873" y="0"/>
                    <a:pt x="1032" y="91"/>
                    <a:pt x="1032" y="351"/>
                  </a:cubicBezTo>
                  <a:cubicBezTo>
                    <a:pt x="1032" y="1303"/>
                    <a:pt x="1032" y="1303"/>
                    <a:pt x="1032" y="1303"/>
                  </a:cubicBezTo>
                  <a:cubicBezTo>
                    <a:pt x="862" y="1303"/>
                    <a:pt x="862" y="1303"/>
                    <a:pt x="862" y="1303"/>
                  </a:cubicBezTo>
                  <a:cubicBezTo>
                    <a:pt x="862" y="385"/>
                    <a:pt x="862" y="385"/>
                    <a:pt x="862" y="385"/>
                  </a:cubicBezTo>
                  <a:cubicBezTo>
                    <a:pt x="862" y="215"/>
                    <a:pt x="771" y="158"/>
                    <a:pt x="635" y="158"/>
                  </a:cubicBezTo>
                  <a:cubicBezTo>
                    <a:pt x="465" y="158"/>
                    <a:pt x="307" y="261"/>
                    <a:pt x="170" y="374"/>
                  </a:cubicBezTo>
                  <a:cubicBezTo>
                    <a:pt x="170" y="1303"/>
                    <a:pt x="170" y="1303"/>
                    <a:pt x="170"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18" name="Freeform 5"/>
            <p:cNvSpPr>
              <a:spLocks noChangeArrowheads="1"/>
            </p:cNvSpPr>
            <p:nvPr/>
          </p:nvSpPr>
          <p:spPr bwMode="auto">
            <a:xfrm>
              <a:off x="1888405" y="3617560"/>
              <a:ext cx="370903" cy="467313"/>
            </a:xfrm>
            <a:custGeom>
              <a:avLst/>
              <a:gdLst>
                <a:gd name="T0" fmla="*/ 0 w 1021"/>
                <a:gd name="T1" fmla="*/ 34 h 1304"/>
                <a:gd name="T2" fmla="*/ 0 w 1021"/>
                <a:gd name="T3" fmla="*/ 34 h 1304"/>
                <a:gd name="T4" fmla="*/ 171 w 1021"/>
                <a:gd name="T5" fmla="*/ 34 h 1304"/>
                <a:gd name="T6" fmla="*/ 171 w 1021"/>
                <a:gd name="T7" fmla="*/ 227 h 1304"/>
                <a:gd name="T8" fmla="*/ 681 w 1021"/>
                <a:gd name="T9" fmla="*/ 0 h 1304"/>
                <a:gd name="T10" fmla="*/ 1020 w 1021"/>
                <a:gd name="T11" fmla="*/ 351 h 1304"/>
                <a:gd name="T12" fmla="*/ 1020 w 1021"/>
                <a:gd name="T13" fmla="*/ 1303 h 1304"/>
                <a:gd name="T14" fmla="*/ 850 w 1021"/>
                <a:gd name="T15" fmla="*/ 1303 h 1304"/>
                <a:gd name="T16" fmla="*/ 850 w 1021"/>
                <a:gd name="T17" fmla="*/ 385 h 1304"/>
                <a:gd name="T18" fmla="*/ 635 w 1021"/>
                <a:gd name="T19" fmla="*/ 158 h 1304"/>
                <a:gd name="T20" fmla="*/ 171 w 1021"/>
                <a:gd name="T21" fmla="*/ 374 h 1304"/>
                <a:gd name="T22" fmla="*/ 171 w 1021"/>
                <a:gd name="T23" fmla="*/ 1303 h 1304"/>
                <a:gd name="T24" fmla="*/ 0 w 1021"/>
                <a:gd name="T25" fmla="*/ 1303 h 1304"/>
                <a:gd name="T26" fmla="*/ 0 w 1021"/>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1" h="1304">
                  <a:moveTo>
                    <a:pt x="0" y="34"/>
                  </a:moveTo>
                  <a:lnTo>
                    <a:pt x="0" y="34"/>
                  </a:lnTo>
                  <a:cubicBezTo>
                    <a:pt x="171" y="34"/>
                    <a:pt x="171" y="34"/>
                    <a:pt x="171" y="34"/>
                  </a:cubicBezTo>
                  <a:cubicBezTo>
                    <a:pt x="171" y="227"/>
                    <a:pt x="171" y="227"/>
                    <a:pt x="171" y="227"/>
                  </a:cubicBezTo>
                  <a:cubicBezTo>
                    <a:pt x="295" y="102"/>
                    <a:pt x="465" y="0"/>
                    <a:pt x="681" y="0"/>
                  </a:cubicBezTo>
                  <a:cubicBezTo>
                    <a:pt x="862" y="0"/>
                    <a:pt x="1020" y="91"/>
                    <a:pt x="1020" y="351"/>
                  </a:cubicBezTo>
                  <a:cubicBezTo>
                    <a:pt x="1020" y="1303"/>
                    <a:pt x="1020" y="1303"/>
                    <a:pt x="1020" y="1303"/>
                  </a:cubicBezTo>
                  <a:cubicBezTo>
                    <a:pt x="850" y="1303"/>
                    <a:pt x="850" y="1303"/>
                    <a:pt x="850" y="1303"/>
                  </a:cubicBezTo>
                  <a:cubicBezTo>
                    <a:pt x="850" y="385"/>
                    <a:pt x="850" y="385"/>
                    <a:pt x="850" y="385"/>
                  </a:cubicBezTo>
                  <a:cubicBezTo>
                    <a:pt x="850" y="215"/>
                    <a:pt x="760" y="158"/>
                    <a:pt x="635" y="158"/>
                  </a:cubicBezTo>
                  <a:cubicBezTo>
                    <a:pt x="454" y="158"/>
                    <a:pt x="295" y="261"/>
                    <a:pt x="171" y="374"/>
                  </a:cubicBezTo>
                  <a:cubicBezTo>
                    <a:pt x="171" y="1303"/>
                    <a:pt x="171" y="1303"/>
                    <a:pt x="171"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19" name="Freeform 6"/>
            <p:cNvSpPr>
              <a:spLocks noChangeArrowheads="1"/>
            </p:cNvSpPr>
            <p:nvPr/>
          </p:nvSpPr>
          <p:spPr bwMode="auto">
            <a:xfrm>
              <a:off x="2418267" y="3457340"/>
              <a:ext cx="79479" cy="627533"/>
            </a:xfrm>
            <a:custGeom>
              <a:avLst/>
              <a:gdLst>
                <a:gd name="T0" fmla="*/ 113 w 227"/>
                <a:gd name="T1" fmla="*/ 227 h 1746"/>
                <a:gd name="T2" fmla="*/ 113 w 227"/>
                <a:gd name="T3" fmla="*/ 227 h 1746"/>
                <a:gd name="T4" fmla="*/ 0 w 227"/>
                <a:gd name="T5" fmla="*/ 113 h 1746"/>
                <a:gd name="T6" fmla="*/ 113 w 227"/>
                <a:gd name="T7" fmla="*/ 0 h 1746"/>
                <a:gd name="T8" fmla="*/ 226 w 227"/>
                <a:gd name="T9" fmla="*/ 113 h 1746"/>
                <a:gd name="T10" fmla="*/ 113 w 227"/>
                <a:gd name="T11" fmla="*/ 227 h 1746"/>
                <a:gd name="T12" fmla="*/ 23 w 227"/>
                <a:gd name="T13" fmla="*/ 476 h 1746"/>
                <a:gd name="T14" fmla="*/ 23 w 227"/>
                <a:gd name="T15" fmla="*/ 476 h 1746"/>
                <a:gd name="T16" fmla="*/ 192 w 227"/>
                <a:gd name="T17" fmla="*/ 476 h 1746"/>
                <a:gd name="T18" fmla="*/ 192 w 227"/>
                <a:gd name="T19" fmla="*/ 1745 h 1746"/>
                <a:gd name="T20" fmla="*/ 23 w 227"/>
                <a:gd name="T21" fmla="*/ 1745 h 1746"/>
                <a:gd name="T22" fmla="*/ 23 w 227"/>
                <a:gd name="T23" fmla="*/ 47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746">
                  <a:moveTo>
                    <a:pt x="113" y="227"/>
                  </a:moveTo>
                  <a:lnTo>
                    <a:pt x="113" y="227"/>
                  </a:lnTo>
                  <a:cubicBezTo>
                    <a:pt x="45" y="227"/>
                    <a:pt x="0" y="181"/>
                    <a:pt x="0" y="113"/>
                  </a:cubicBezTo>
                  <a:cubicBezTo>
                    <a:pt x="0" y="45"/>
                    <a:pt x="45" y="0"/>
                    <a:pt x="113" y="0"/>
                  </a:cubicBezTo>
                  <a:cubicBezTo>
                    <a:pt x="181" y="0"/>
                    <a:pt x="226" y="45"/>
                    <a:pt x="226" y="113"/>
                  </a:cubicBezTo>
                  <a:cubicBezTo>
                    <a:pt x="226" y="181"/>
                    <a:pt x="181" y="227"/>
                    <a:pt x="113" y="227"/>
                  </a:cubicBezTo>
                  <a:close/>
                  <a:moveTo>
                    <a:pt x="23" y="476"/>
                  </a:moveTo>
                  <a:lnTo>
                    <a:pt x="23" y="476"/>
                  </a:lnTo>
                  <a:cubicBezTo>
                    <a:pt x="192" y="476"/>
                    <a:pt x="192" y="476"/>
                    <a:pt x="192" y="476"/>
                  </a:cubicBezTo>
                  <a:cubicBezTo>
                    <a:pt x="192" y="1745"/>
                    <a:pt x="192" y="1745"/>
                    <a:pt x="192" y="1745"/>
                  </a:cubicBezTo>
                  <a:cubicBezTo>
                    <a:pt x="23" y="1745"/>
                    <a:pt x="23" y="1745"/>
                    <a:pt x="23" y="1745"/>
                  </a:cubicBezTo>
                  <a:lnTo>
                    <a:pt x="23" y="476"/>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0" name="Freeform 7"/>
            <p:cNvSpPr>
              <a:spLocks noChangeArrowheads="1"/>
            </p:cNvSpPr>
            <p:nvPr/>
          </p:nvSpPr>
          <p:spPr bwMode="auto">
            <a:xfrm>
              <a:off x="2656705" y="3617560"/>
              <a:ext cx="370903" cy="467313"/>
            </a:xfrm>
            <a:custGeom>
              <a:avLst/>
              <a:gdLst>
                <a:gd name="T0" fmla="*/ 0 w 1032"/>
                <a:gd name="T1" fmla="*/ 34 h 1304"/>
                <a:gd name="T2" fmla="*/ 0 w 1032"/>
                <a:gd name="T3" fmla="*/ 34 h 1304"/>
                <a:gd name="T4" fmla="*/ 181 w 1032"/>
                <a:gd name="T5" fmla="*/ 34 h 1304"/>
                <a:gd name="T6" fmla="*/ 181 w 1032"/>
                <a:gd name="T7" fmla="*/ 227 h 1304"/>
                <a:gd name="T8" fmla="*/ 691 w 1032"/>
                <a:gd name="T9" fmla="*/ 0 h 1304"/>
                <a:gd name="T10" fmla="*/ 1031 w 1032"/>
                <a:gd name="T11" fmla="*/ 351 h 1304"/>
                <a:gd name="T12" fmla="*/ 1031 w 1032"/>
                <a:gd name="T13" fmla="*/ 1303 h 1304"/>
                <a:gd name="T14" fmla="*/ 861 w 1032"/>
                <a:gd name="T15" fmla="*/ 1303 h 1304"/>
                <a:gd name="T16" fmla="*/ 861 w 1032"/>
                <a:gd name="T17" fmla="*/ 385 h 1304"/>
                <a:gd name="T18" fmla="*/ 634 w 1032"/>
                <a:gd name="T19" fmla="*/ 158 h 1304"/>
                <a:gd name="T20" fmla="*/ 181 w 1032"/>
                <a:gd name="T21" fmla="*/ 374 h 1304"/>
                <a:gd name="T22" fmla="*/ 181 w 1032"/>
                <a:gd name="T23" fmla="*/ 1303 h 1304"/>
                <a:gd name="T24" fmla="*/ 0 w 1032"/>
                <a:gd name="T25" fmla="*/ 1303 h 1304"/>
                <a:gd name="T26" fmla="*/ 0 w 1032"/>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2" h="1304">
                  <a:moveTo>
                    <a:pt x="0" y="34"/>
                  </a:moveTo>
                  <a:lnTo>
                    <a:pt x="0" y="34"/>
                  </a:lnTo>
                  <a:cubicBezTo>
                    <a:pt x="181" y="34"/>
                    <a:pt x="181" y="34"/>
                    <a:pt x="181" y="34"/>
                  </a:cubicBezTo>
                  <a:cubicBezTo>
                    <a:pt x="181" y="227"/>
                    <a:pt x="181" y="227"/>
                    <a:pt x="181" y="227"/>
                  </a:cubicBezTo>
                  <a:cubicBezTo>
                    <a:pt x="294" y="102"/>
                    <a:pt x="476" y="0"/>
                    <a:pt x="691" y="0"/>
                  </a:cubicBezTo>
                  <a:cubicBezTo>
                    <a:pt x="872" y="0"/>
                    <a:pt x="1031" y="91"/>
                    <a:pt x="1031" y="351"/>
                  </a:cubicBezTo>
                  <a:cubicBezTo>
                    <a:pt x="1031" y="1303"/>
                    <a:pt x="1031" y="1303"/>
                    <a:pt x="1031" y="1303"/>
                  </a:cubicBezTo>
                  <a:cubicBezTo>
                    <a:pt x="861" y="1303"/>
                    <a:pt x="861" y="1303"/>
                    <a:pt x="861" y="1303"/>
                  </a:cubicBezTo>
                  <a:cubicBezTo>
                    <a:pt x="861" y="385"/>
                    <a:pt x="861" y="385"/>
                    <a:pt x="861" y="385"/>
                  </a:cubicBezTo>
                  <a:cubicBezTo>
                    <a:pt x="861" y="215"/>
                    <a:pt x="770" y="158"/>
                    <a:pt x="634" y="158"/>
                  </a:cubicBezTo>
                  <a:cubicBezTo>
                    <a:pt x="464" y="158"/>
                    <a:pt x="306" y="261"/>
                    <a:pt x="181" y="374"/>
                  </a:cubicBezTo>
                  <a:cubicBezTo>
                    <a:pt x="181" y="1303"/>
                    <a:pt x="181" y="1303"/>
                    <a:pt x="181"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1" name="Freeform 8"/>
            <p:cNvSpPr>
              <a:spLocks noChangeArrowheads="1"/>
            </p:cNvSpPr>
            <p:nvPr/>
          </p:nvSpPr>
          <p:spPr bwMode="auto">
            <a:xfrm>
              <a:off x="3133580" y="3617560"/>
              <a:ext cx="476876" cy="667584"/>
            </a:xfrm>
            <a:custGeom>
              <a:avLst/>
              <a:gdLst>
                <a:gd name="T0" fmla="*/ 612 w 1328"/>
                <a:gd name="T1" fmla="*/ 906 h 1859"/>
                <a:gd name="T2" fmla="*/ 612 w 1328"/>
                <a:gd name="T3" fmla="*/ 906 h 1859"/>
                <a:gd name="T4" fmla="*/ 386 w 1328"/>
                <a:gd name="T5" fmla="*/ 860 h 1859"/>
                <a:gd name="T6" fmla="*/ 295 w 1328"/>
                <a:gd name="T7" fmla="*/ 996 h 1859"/>
                <a:gd name="T8" fmla="*/ 533 w 1328"/>
                <a:gd name="T9" fmla="*/ 1110 h 1859"/>
                <a:gd name="T10" fmla="*/ 828 w 1328"/>
                <a:gd name="T11" fmla="*/ 1110 h 1859"/>
                <a:gd name="T12" fmla="*/ 1258 w 1328"/>
                <a:gd name="T13" fmla="*/ 1427 h 1859"/>
                <a:gd name="T14" fmla="*/ 556 w 1328"/>
                <a:gd name="T15" fmla="*/ 1858 h 1859"/>
                <a:gd name="T16" fmla="*/ 0 w 1328"/>
                <a:gd name="T17" fmla="*/ 1540 h 1859"/>
                <a:gd name="T18" fmla="*/ 272 w 1328"/>
                <a:gd name="T19" fmla="*/ 1223 h 1859"/>
                <a:gd name="T20" fmla="*/ 136 w 1328"/>
                <a:gd name="T21" fmla="*/ 1042 h 1859"/>
                <a:gd name="T22" fmla="*/ 284 w 1328"/>
                <a:gd name="T23" fmla="*/ 815 h 1859"/>
                <a:gd name="T24" fmla="*/ 91 w 1328"/>
                <a:gd name="T25" fmla="*/ 464 h 1859"/>
                <a:gd name="T26" fmla="*/ 635 w 1328"/>
                <a:gd name="T27" fmla="*/ 0 h 1859"/>
                <a:gd name="T28" fmla="*/ 1032 w 1328"/>
                <a:gd name="T29" fmla="*/ 125 h 1859"/>
                <a:gd name="T30" fmla="*/ 1270 w 1328"/>
                <a:gd name="T31" fmla="*/ 22 h 1859"/>
                <a:gd name="T32" fmla="*/ 1327 w 1328"/>
                <a:gd name="T33" fmla="*/ 34 h 1859"/>
                <a:gd name="T34" fmla="*/ 1327 w 1328"/>
                <a:gd name="T35" fmla="*/ 193 h 1859"/>
                <a:gd name="T36" fmla="*/ 1270 w 1328"/>
                <a:gd name="T37" fmla="*/ 193 h 1859"/>
                <a:gd name="T38" fmla="*/ 1111 w 1328"/>
                <a:gd name="T39" fmla="*/ 227 h 1859"/>
                <a:gd name="T40" fmla="*/ 1168 w 1328"/>
                <a:gd name="T41" fmla="*/ 441 h 1859"/>
                <a:gd name="T42" fmla="*/ 612 w 1328"/>
                <a:gd name="T43" fmla="*/ 906 h 1859"/>
                <a:gd name="T44" fmla="*/ 454 w 1328"/>
                <a:gd name="T45" fmla="*/ 1268 h 1859"/>
                <a:gd name="T46" fmla="*/ 454 w 1328"/>
                <a:gd name="T47" fmla="*/ 1268 h 1859"/>
                <a:gd name="T48" fmla="*/ 181 w 1328"/>
                <a:gd name="T49" fmla="*/ 1518 h 1859"/>
                <a:gd name="T50" fmla="*/ 578 w 1328"/>
                <a:gd name="T51" fmla="*/ 1722 h 1859"/>
                <a:gd name="T52" fmla="*/ 1088 w 1328"/>
                <a:gd name="T53" fmla="*/ 1450 h 1859"/>
                <a:gd name="T54" fmla="*/ 794 w 1328"/>
                <a:gd name="T55" fmla="*/ 1268 h 1859"/>
                <a:gd name="T56" fmla="*/ 454 w 1328"/>
                <a:gd name="T57" fmla="*/ 1268 h 1859"/>
                <a:gd name="T58" fmla="*/ 635 w 1328"/>
                <a:gd name="T59" fmla="*/ 770 h 1859"/>
                <a:gd name="T60" fmla="*/ 635 w 1328"/>
                <a:gd name="T61" fmla="*/ 770 h 1859"/>
                <a:gd name="T62" fmla="*/ 998 w 1328"/>
                <a:gd name="T63" fmla="*/ 452 h 1859"/>
                <a:gd name="T64" fmla="*/ 635 w 1328"/>
                <a:gd name="T65" fmla="*/ 136 h 1859"/>
                <a:gd name="T66" fmla="*/ 261 w 1328"/>
                <a:gd name="T67" fmla="*/ 452 h 1859"/>
                <a:gd name="T68" fmla="*/ 635 w 1328"/>
                <a:gd name="T69" fmla="*/ 770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28" h="1859">
                  <a:moveTo>
                    <a:pt x="612" y="906"/>
                  </a:moveTo>
                  <a:lnTo>
                    <a:pt x="612" y="906"/>
                  </a:lnTo>
                  <a:cubicBezTo>
                    <a:pt x="533" y="906"/>
                    <a:pt x="454" y="894"/>
                    <a:pt x="386" y="860"/>
                  </a:cubicBezTo>
                  <a:cubicBezTo>
                    <a:pt x="340" y="894"/>
                    <a:pt x="295" y="940"/>
                    <a:pt x="295" y="996"/>
                  </a:cubicBezTo>
                  <a:cubicBezTo>
                    <a:pt x="295" y="1110"/>
                    <a:pt x="420" y="1110"/>
                    <a:pt x="533" y="1110"/>
                  </a:cubicBezTo>
                  <a:cubicBezTo>
                    <a:pt x="828" y="1110"/>
                    <a:pt x="828" y="1110"/>
                    <a:pt x="828" y="1110"/>
                  </a:cubicBezTo>
                  <a:cubicBezTo>
                    <a:pt x="1100" y="1110"/>
                    <a:pt x="1258" y="1223"/>
                    <a:pt x="1258" y="1427"/>
                  </a:cubicBezTo>
                  <a:cubicBezTo>
                    <a:pt x="1258" y="1699"/>
                    <a:pt x="952" y="1858"/>
                    <a:pt x="556" y="1858"/>
                  </a:cubicBezTo>
                  <a:cubicBezTo>
                    <a:pt x="227" y="1858"/>
                    <a:pt x="0" y="1744"/>
                    <a:pt x="0" y="1540"/>
                  </a:cubicBezTo>
                  <a:cubicBezTo>
                    <a:pt x="0" y="1404"/>
                    <a:pt x="91" y="1291"/>
                    <a:pt x="272" y="1223"/>
                  </a:cubicBezTo>
                  <a:cubicBezTo>
                    <a:pt x="193" y="1189"/>
                    <a:pt x="136" y="1132"/>
                    <a:pt x="136" y="1042"/>
                  </a:cubicBezTo>
                  <a:cubicBezTo>
                    <a:pt x="136" y="940"/>
                    <a:pt x="204" y="872"/>
                    <a:pt x="284" y="815"/>
                  </a:cubicBezTo>
                  <a:cubicBezTo>
                    <a:pt x="170" y="747"/>
                    <a:pt x="91" y="622"/>
                    <a:pt x="91" y="464"/>
                  </a:cubicBezTo>
                  <a:cubicBezTo>
                    <a:pt x="91" y="170"/>
                    <a:pt x="340" y="0"/>
                    <a:pt x="635" y="0"/>
                  </a:cubicBezTo>
                  <a:cubicBezTo>
                    <a:pt x="794" y="0"/>
                    <a:pt x="930" y="45"/>
                    <a:pt x="1032" y="125"/>
                  </a:cubicBezTo>
                  <a:cubicBezTo>
                    <a:pt x="1077" y="79"/>
                    <a:pt x="1168" y="22"/>
                    <a:pt x="1270" y="22"/>
                  </a:cubicBezTo>
                  <a:cubicBezTo>
                    <a:pt x="1293" y="22"/>
                    <a:pt x="1304" y="22"/>
                    <a:pt x="1327" y="34"/>
                  </a:cubicBezTo>
                  <a:cubicBezTo>
                    <a:pt x="1327" y="193"/>
                    <a:pt x="1327" y="193"/>
                    <a:pt x="1327" y="193"/>
                  </a:cubicBezTo>
                  <a:cubicBezTo>
                    <a:pt x="1315" y="193"/>
                    <a:pt x="1293" y="193"/>
                    <a:pt x="1270" y="193"/>
                  </a:cubicBezTo>
                  <a:cubicBezTo>
                    <a:pt x="1213" y="193"/>
                    <a:pt x="1157" y="204"/>
                    <a:pt x="1111" y="227"/>
                  </a:cubicBezTo>
                  <a:cubicBezTo>
                    <a:pt x="1145" y="283"/>
                    <a:pt x="1168" y="363"/>
                    <a:pt x="1168" y="441"/>
                  </a:cubicBezTo>
                  <a:cubicBezTo>
                    <a:pt x="1168" y="736"/>
                    <a:pt x="930" y="906"/>
                    <a:pt x="612" y="906"/>
                  </a:cubicBezTo>
                  <a:close/>
                  <a:moveTo>
                    <a:pt x="454" y="1268"/>
                  </a:moveTo>
                  <a:lnTo>
                    <a:pt x="454" y="1268"/>
                  </a:lnTo>
                  <a:cubicBezTo>
                    <a:pt x="284" y="1314"/>
                    <a:pt x="181" y="1393"/>
                    <a:pt x="181" y="1518"/>
                  </a:cubicBezTo>
                  <a:cubicBezTo>
                    <a:pt x="181" y="1654"/>
                    <a:pt x="329" y="1722"/>
                    <a:pt x="578" y="1722"/>
                  </a:cubicBezTo>
                  <a:cubicBezTo>
                    <a:pt x="884" y="1722"/>
                    <a:pt x="1088" y="1620"/>
                    <a:pt x="1088" y="1450"/>
                  </a:cubicBezTo>
                  <a:cubicBezTo>
                    <a:pt x="1088" y="1325"/>
                    <a:pt x="986" y="1268"/>
                    <a:pt x="794" y="1268"/>
                  </a:cubicBezTo>
                  <a:lnTo>
                    <a:pt x="454" y="1268"/>
                  </a:lnTo>
                  <a:close/>
                  <a:moveTo>
                    <a:pt x="635" y="770"/>
                  </a:moveTo>
                  <a:lnTo>
                    <a:pt x="635" y="770"/>
                  </a:lnTo>
                  <a:cubicBezTo>
                    <a:pt x="839" y="770"/>
                    <a:pt x="998" y="668"/>
                    <a:pt x="998" y="452"/>
                  </a:cubicBezTo>
                  <a:cubicBezTo>
                    <a:pt x="998" y="227"/>
                    <a:pt x="839" y="136"/>
                    <a:pt x="635" y="136"/>
                  </a:cubicBezTo>
                  <a:cubicBezTo>
                    <a:pt x="420" y="136"/>
                    <a:pt x="261" y="238"/>
                    <a:pt x="261" y="452"/>
                  </a:cubicBezTo>
                  <a:cubicBezTo>
                    <a:pt x="261" y="679"/>
                    <a:pt x="431" y="770"/>
                    <a:pt x="635" y="770"/>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2" name="Freeform 9"/>
            <p:cNvSpPr>
              <a:spLocks noChangeArrowheads="1"/>
            </p:cNvSpPr>
            <p:nvPr/>
          </p:nvSpPr>
          <p:spPr bwMode="auto">
            <a:xfrm>
              <a:off x="3928373" y="3430637"/>
              <a:ext cx="476876" cy="654236"/>
            </a:xfrm>
            <a:custGeom>
              <a:avLst/>
              <a:gdLst>
                <a:gd name="T0" fmla="*/ 1167 w 1338"/>
                <a:gd name="T1" fmla="*/ 1609 h 1848"/>
                <a:gd name="T2" fmla="*/ 1167 w 1338"/>
                <a:gd name="T3" fmla="*/ 1609 h 1848"/>
                <a:gd name="T4" fmla="*/ 1167 w 1338"/>
                <a:gd name="T5" fmla="*/ 1042 h 1848"/>
                <a:gd name="T6" fmla="*/ 759 w 1338"/>
                <a:gd name="T7" fmla="*/ 1042 h 1848"/>
                <a:gd name="T8" fmla="*/ 759 w 1338"/>
                <a:gd name="T9" fmla="*/ 885 h 1848"/>
                <a:gd name="T10" fmla="*/ 1337 w 1338"/>
                <a:gd name="T11" fmla="*/ 885 h 1848"/>
                <a:gd name="T12" fmla="*/ 1337 w 1338"/>
                <a:gd name="T13" fmla="*/ 1689 h 1848"/>
                <a:gd name="T14" fmla="*/ 771 w 1338"/>
                <a:gd name="T15" fmla="*/ 1847 h 1848"/>
                <a:gd name="T16" fmla="*/ 0 w 1338"/>
                <a:gd name="T17" fmla="*/ 941 h 1848"/>
                <a:gd name="T18" fmla="*/ 793 w 1338"/>
                <a:gd name="T19" fmla="*/ 0 h 1848"/>
                <a:gd name="T20" fmla="*/ 1337 w 1338"/>
                <a:gd name="T21" fmla="*/ 182 h 1848"/>
                <a:gd name="T22" fmla="*/ 1281 w 1338"/>
                <a:gd name="T23" fmla="*/ 352 h 1848"/>
                <a:gd name="T24" fmla="*/ 782 w 1338"/>
                <a:gd name="T25" fmla="*/ 159 h 1848"/>
                <a:gd name="T26" fmla="*/ 170 w 1338"/>
                <a:gd name="T27" fmla="*/ 930 h 1848"/>
                <a:gd name="T28" fmla="*/ 793 w 1338"/>
                <a:gd name="T29" fmla="*/ 1700 h 1848"/>
                <a:gd name="T30" fmla="*/ 1167 w 1338"/>
                <a:gd name="T31" fmla="*/ 1609 h 1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8" h="1848">
                  <a:moveTo>
                    <a:pt x="1167" y="1609"/>
                  </a:moveTo>
                  <a:lnTo>
                    <a:pt x="1167" y="1609"/>
                  </a:lnTo>
                  <a:cubicBezTo>
                    <a:pt x="1167" y="1042"/>
                    <a:pt x="1167" y="1042"/>
                    <a:pt x="1167" y="1042"/>
                  </a:cubicBezTo>
                  <a:cubicBezTo>
                    <a:pt x="759" y="1042"/>
                    <a:pt x="759" y="1042"/>
                    <a:pt x="759" y="1042"/>
                  </a:cubicBezTo>
                  <a:cubicBezTo>
                    <a:pt x="759" y="885"/>
                    <a:pt x="759" y="885"/>
                    <a:pt x="759" y="885"/>
                  </a:cubicBezTo>
                  <a:cubicBezTo>
                    <a:pt x="1337" y="885"/>
                    <a:pt x="1337" y="885"/>
                    <a:pt x="1337" y="885"/>
                  </a:cubicBezTo>
                  <a:cubicBezTo>
                    <a:pt x="1337" y="1689"/>
                    <a:pt x="1337" y="1689"/>
                    <a:pt x="1337" y="1689"/>
                  </a:cubicBezTo>
                  <a:cubicBezTo>
                    <a:pt x="1179" y="1790"/>
                    <a:pt x="997" y="1847"/>
                    <a:pt x="771" y="1847"/>
                  </a:cubicBezTo>
                  <a:cubicBezTo>
                    <a:pt x="306" y="1847"/>
                    <a:pt x="0" y="1552"/>
                    <a:pt x="0" y="941"/>
                  </a:cubicBezTo>
                  <a:cubicBezTo>
                    <a:pt x="0" y="318"/>
                    <a:pt x="328" y="0"/>
                    <a:pt x="793" y="0"/>
                  </a:cubicBezTo>
                  <a:cubicBezTo>
                    <a:pt x="1020" y="0"/>
                    <a:pt x="1190" y="69"/>
                    <a:pt x="1337" y="182"/>
                  </a:cubicBezTo>
                  <a:cubicBezTo>
                    <a:pt x="1281" y="352"/>
                    <a:pt x="1281" y="352"/>
                    <a:pt x="1281" y="352"/>
                  </a:cubicBezTo>
                  <a:cubicBezTo>
                    <a:pt x="1122" y="227"/>
                    <a:pt x="975" y="159"/>
                    <a:pt x="782" y="159"/>
                  </a:cubicBezTo>
                  <a:cubicBezTo>
                    <a:pt x="419" y="159"/>
                    <a:pt x="170" y="408"/>
                    <a:pt x="170" y="930"/>
                  </a:cubicBezTo>
                  <a:cubicBezTo>
                    <a:pt x="170" y="1462"/>
                    <a:pt x="419" y="1700"/>
                    <a:pt x="793" y="1700"/>
                  </a:cubicBezTo>
                  <a:cubicBezTo>
                    <a:pt x="929" y="1700"/>
                    <a:pt x="1054" y="1666"/>
                    <a:pt x="1167" y="1609"/>
                  </a:cubicBez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3" name="Freeform 10"/>
            <p:cNvSpPr>
              <a:spLocks noChangeArrowheads="1"/>
            </p:cNvSpPr>
            <p:nvPr/>
          </p:nvSpPr>
          <p:spPr bwMode="auto">
            <a:xfrm>
              <a:off x="4550956" y="3617560"/>
              <a:ext cx="410647" cy="480660"/>
            </a:xfrm>
            <a:custGeom>
              <a:avLst/>
              <a:gdLst>
                <a:gd name="T0" fmla="*/ 555 w 1134"/>
                <a:gd name="T1" fmla="*/ 1325 h 1326"/>
                <a:gd name="T2" fmla="*/ 555 w 1134"/>
                <a:gd name="T3" fmla="*/ 1325 h 1326"/>
                <a:gd name="T4" fmla="*/ 0 w 1134"/>
                <a:gd name="T5" fmla="*/ 668 h 1326"/>
                <a:gd name="T6" fmla="*/ 567 w 1134"/>
                <a:gd name="T7" fmla="*/ 0 h 1326"/>
                <a:gd name="T8" fmla="*/ 1133 w 1134"/>
                <a:gd name="T9" fmla="*/ 656 h 1326"/>
                <a:gd name="T10" fmla="*/ 555 w 1134"/>
                <a:gd name="T11" fmla="*/ 1325 h 1326"/>
                <a:gd name="T12" fmla="*/ 567 w 1134"/>
                <a:gd name="T13" fmla="*/ 1189 h 1326"/>
                <a:gd name="T14" fmla="*/ 567 w 1134"/>
                <a:gd name="T15" fmla="*/ 1189 h 1326"/>
                <a:gd name="T16" fmla="*/ 963 w 1134"/>
                <a:gd name="T17" fmla="*/ 668 h 1326"/>
                <a:gd name="T18" fmla="*/ 567 w 1134"/>
                <a:gd name="T19" fmla="*/ 147 h 1326"/>
                <a:gd name="T20" fmla="*/ 170 w 1134"/>
                <a:gd name="T21" fmla="*/ 668 h 1326"/>
                <a:gd name="T22" fmla="*/ 567 w 1134"/>
                <a:gd name="T23" fmla="*/ 1189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4" h="1326">
                  <a:moveTo>
                    <a:pt x="555" y="1325"/>
                  </a:moveTo>
                  <a:lnTo>
                    <a:pt x="555" y="1325"/>
                  </a:lnTo>
                  <a:cubicBezTo>
                    <a:pt x="249" y="1325"/>
                    <a:pt x="0" y="1121"/>
                    <a:pt x="0" y="668"/>
                  </a:cubicBezTo>
                  <a:cubicBezTo>
                    <a:pt x="0" y="204"/>
                    <a:pt x="261" y="0"/>
                    <a:pt x="567" y="0"/>
                  </a:cubicBezTo>
                  <a:cubicBezTo>
                    <a:pt x="873" y="0"/>
                    <a:pt x="1133" y="204"/>
                    <a:pt x="1133" y="656"/>
                  </a:cubicBezTo>
                  <a:cubicBezTo>
                    <a:pt x="1133" y="1121"/>
                    <a:pt x="873" y="1325"/>
                    <a:pt x="555" y="1325"/>
                  </a:cubicBezTo>
                  <a:close/>
                  <a:moveTo>
                    <a:pt x="567" y="1189"/>
                  </a:moveTo>
                  <a:lnTo>
                    <a:pt x="567" y="1189"/>
                  </a:lnTo>
                  <a:cubicBezTo>
                    <a:pt x="782" y="1189"/>
                    <a:pt x="963" y="1030"/>
                    <a:pt x="963" y="668"/>
                  </a:cubicBezTo>
                  <a:cubicBezTo>
                    <a:pt x="963" y="295"/>
                    <a:pt x="782" y="147"/>
                    <a:pt x="567" y="147"/>
                  </a:cubicBezTo>
                  <a:cubicBezTo>
                    <a:pt x="340" y="147"/>
                    <a:pt x="170" y="295"/>
                    <a:pt x="170" y="668"/>
                  </a:cubicBezTo>
                  <a:cubicBezTo>
                    <a:pt x="170" y="1030"/>
                    <a:pt x="340" y="1189"/>
                    <a:pt x="567" y="1189"/>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4" name="Freeform 11"/>
            <p:cNvSpPr>
              <a:spLocks noChangeArrowheads="1"/>
            </p:cNvSpPr>
            <p:nvPr/>
          </p:nvSpPr>
          <p:spPr bwMode="auto">
            <a:xfrm>
              <a:off x="5054325" y="3470696"/>
              <a:ext cx="278182" cy="614177"/>
            </a:xfrm>
            <a:custGeom>
              <a:avLst/>
              <a:gdLst>
                <a:gd name="T0" fmla="*/ 0 w 771"/>
                <a:gd name="T1" fmla="*/ 431 h 1712"/>
                <a:gd name="T2" fmla="*/ 0 w 771"/>
                <a:gd name="T3" fmla="*/ 431 h 1712"/>
                <a:gd name="T4" fmla="*/ 259 w 771"/>
                <a:gd name="T5" fmla="*/ 431 h 1712"/>
                <a:gd name="T6" fmla="*/ 259 w 771"/>
                <a:gd name="T7" fmla="*/ 0 h 1712"/>
                <a:gd name="T8" fmla="*/ 429 w 771"/>
                <a:gd name="T9" fmla="*/ 0 h 1712"/>
                <a:gd name="T10" fmla="*/ 429 w 771"/>
                <a:gd name="T11" fmla="*/ 431 h 1712"/>
                <a:gd name="T12" fmla="*/ 770 w 771"/>
                <a:gd name="T13" fmla="*/ 431 h 1712"/>
                <a:gd name="T14" fmla="*/ 770 w 771"/>
                <a:gd name="T15" fmla="*/ 578 h 1712"/>
                <a:gd name="T16" fmla="*/ 429 w 771"/>
                <a:gd name="T17" fmla="*/ 578 h 1712"/>
                <a:gd name="T18" fmla="*/ 429 w 771"/>
                <a:gd name="T19" fmla="*/ 1348 h 1712"/>
                <a:gd name="T20" fmla="*/ 588 w 771"/>
                <a:gd name="T21" fmla="*/ 1564 h 1712"/>
                <a:gd name="T22" fmla="*/ 770 w 771"/>
                <a:gd name="T23" fmla="*/ 1529 h 1712"/>
                <a:gd name="T24" fmla="*/ 770 w 771"/>
                <a:gd name="T25" fmla="*/ 1688 h 1712"/>
                <a:gd name="T26" fmla="*/ 554 w 771"/>
                <a:gd name="T27" fmla="*/ 1711 h 1712"/>
                <a:gd name="T28" fmla="*/ 259 w 771"/>
                <a:gd name="T29" fmla="*/ 1371 h 1712"/>
                <a:gd name="T30" fmla="*/ 259 w 771"/>
                <a:gd name="T31" fmla="*/ 578 h 1712"/>
                <a:gd name="T32" fmla="*/ 0 w 771"/>
                <a:gd name="T33" fmla="*/ 578 h 1712"/>
                <a:gd name="T34" fmla="*/ 0 w 771"/>
                <a:gd name="T35" fmla="*/ 431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1" h="1712">
                  <a:moveTo>
                    <a:pt x="0" y="431"/>
                  </a:moveTo>
                  <a:lnTo>
                    <a:pt x="0" y="431"/>
                  </a:lnTo>
                  <a:cubicBezTo>
                    <a:pt x="259" y="431"/>
                    <a:pt x="259" y="431"/>
                    <a:pt x="259" y="431"/>
                  </a:cubicBezTo>
                  <a:cubicBezTo>
                    <a:pt x="259" y="0"/>
                    <a:pt x="259" y="0"/>
                    <a:pt x="259" y="0"/>
                  </a:cubicBezTo>
                  <a:cubicBezTo>
                    <a:pt x="429" y="0"/>
                    <a:pt x="429" y="0"/>
                    <a:pt x="429" y="0"/>
                  </a:cubicBezTo>
                  <a:cubicBezTo>
                    <a:pt x="429" y="431"/>
                    <a:pt x="429" y="431"/>
                    <a:pt x="429" y="431"/>
                  </a:cubicBezTo>
                  <a:cubicBezTo>
                    <a:pt x="770" y="431"/>
                    <a:pt x="770" y="431"/>
                    <a:pt x="770" y="431"/>
                  </a:cubicBezTo>
                  <a:cubicBezTo>
                    <a:pt x="770" y="578"/>
                    <a:pt x="770" y="578"/>
                    <a:pt x="770" y="578"/>
                  </a:cubicBezTo>
                  <a:cubicBezTo>
                    <a:pt x="429" y="578"/>
                    <a:pt x="429" y="578"/>
                    <a:pt x="429" y="578"/>
                  </a:cubicBezTo>
                  <a:cubicBezTo>
                    <a:pt x="429" y="1348"/>
                    <a:pt x="429" y="1348"/>
                    <a:pt x="429" y="1348"/>
                  </a:cubicBezTo>
                  <a:cubicBezTo>
                    <a:pt x="429" y="1518"/>
                    <a:pt x="464" y="1564"/>
                    <a:pt x="588" y="1564"/>
                  </a:cubicBezTo>
                  <a:cubicBezTo>
                    <a:pt x="656" y="1564"/>
                    <a:pt x="713" y="1552"/>
                    <a:pt x="770" y="1529"/>
                  </a:cubicBezTo>
                  <a:cubicBezTo>
                    <a:pt x="770" y="1688"/>
                    <a:pt x="770" y="1688"/>
                    <a:pt x="770" y="1688"/>
                  </a:cubicBezTo>
                  <a:cubicBezTo>
                    <a:pt x="713" y="1700"/>
                    <a:pt x="645" y="1711"/>
                    <a:pt x="554" y="1711"/>
                  </a:cubicBezTo>
                  <a:cubicBezTo>
                    <a:pt x="339" y="1711"/>
                    <a:pt x="259" y="1631"/>
                    <a:pt x="259" y="1371"/>
                  </a:cubicBezTo>
                  <a:cubicBezTo>
                    <a:pt x="259" y="578"/>
                    <a:pt x="259" y="578"/>
                    <a:pt x="259" y="578"/>
                  </a:cubicBezTo>
                  <a:cubicBezTo>
                    <a:pt x="0" y="578"/>
                    <a:pt x="0" y="578"/>
                    <a:pt x="0" y="578"/>
                  </a:cubicBezTo>
                  <a:lnTo>
                    <a:pt x="0" y="431"/>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5" name="Freeform 12"/>
            <p:cNvSpPr>
              <a:spLocks noChangeArrowheads="1"/>
            </p:cNvSpPr>
            <p:nvPr/>
          </p:nvSpPr>
          <p:spPr bwMode="auto">
            <a:xfrm>
              <a:off x="5411986" y="3470696"/>
              <a:ext cx="278173" cy="614177"/>
            </a:xfrm>
            <a:custGeom>
              <a:avLst/>
              <a:gdLst>
                <a:gd name="T0" fmla="*/ 0 w 772"/>
                <a:gd name="T1" fmla="*/ 431 h 1712"/>
                <a:gd name="T2" fmla="*/ 0 w 772"/>
                <a:gd name="T3" fmla="*/ 431 h 1712"/>
                <a:gd name="T4" fmla="*/ 261 w 772"/>
                <a:gd name="T5" fmla="*/ 431 h 1712"/>
                <a:gd name="T6" fmla="*/ 261 w 772"/>
                <a:gd name="T7" fmla="*/ 0 h 1712"/>
                <a:gd name="T8" fmla="*/ 431 w 772"/>
                <a:gd name="T9" fmla="*/ 0 h 1712"/>
                <a:gd name="T10" fmla="*/ 431 w 772"/>
                <a:gd name="T11" fmla="*/ 431 h 1712"/>
                <a:gd name="T12" fmla="*/ 771 w 772"/>
                <a:gd name="T13" fmla="*/ 431 h 1712"/>
                <a:gd name="T14" fmla="*/ 771 w 772"/>
                <a:gd name="T15" fmla="*/ 578 h 1712"/>
                <a:gd name="T16" fmla="*/ 431 w 772"/>
                <a:gd name="T17" fmla="*/ 578 h 1712"/>
                <a:gd name="T18" fmla="*/ 431 w 772"/>
                <a:gd name="T19" fmla="*/ 1348 h 1712"/>
                <a:gd name="T20" fmla="*/ 590 w 772"/>
                <a:gd name="T21" fmla="*/ 1564 h 1712"/>
                <a:gd name="T22" fmla="*/ 771 w 772"/>
                <a:gd name="T23" fmla="*/ 1529 h 1712"/>
                <a:gd name="T24" fmla="*/ 771 w 772"/>
                <a:gd name="T25" fmla="*/ 1688 h 1712"/>
                <a:gd name="T26" fmla="*/ 556 w 772"/>
                <a:gd name="T27" fmla="*/ 1711 h 1712"/>
                <a:gd name="T28" fmla="*/ 261 w 772"/>
                <a:gd name="T29" fmla="*/ 1371 h 1712"/>
                <a:gd name="T30" fmla="*/ 261 w 772"/>
                <a:gd name="T31" fmla="*/ 578 h 1712"/>
                <a:gd name="T32" fmla="*/ 0 w 772"/>
                <a:gd name="T33" fmla="*/ 578 h 1712"/>
                <a:gd name="T34" fmla="*/ 0 w 772"/>
                <a:gd name="T35" fmla="*/ 431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2" h="1712">
                  <a:moveTo>
                    <a:pt x="0" y="431"/>
                  </a:moveTo>
                  <a:lnTo>
                    <a:pt x="0" y="431"/>
                  </a:lnTo>
                  <a:cubicBezTo>
                    <a:pt x="261" y="431"/>
                    <a:pt x="261" y="431"/>
                    <a:pt x="261" y="431"/>
                  </a:cubicBezTo>
                  <a:cubicBezTo>
                    <a:pt x="261" y="0"/>
                    <a:pt x="261" y="0"/>
                    <a:pt x="261" y="0"/>
                  </a:cubicBezTo>
                  <a:cubicBezTo>
                    <a:pt x="431" y="0"/>
                    <a:pt x="431" y="0"/>
                    <a:pt x="431" y="0"/>
                  </a:cubicBezTo>
                  <a:cubicBezTo>
                    <a:pt x="431" y="431"/>
                    <a:pt x="431" y="431"/>
                    <a:pt x="431" y="431"/>
                  </a:cubicBezTo>
                  <a:cubicBezTo>
                    <a:pt x="771" y="431"/>
                    <a:pt x="771" y="431"/>
                    <a:pt x="771" y="431"/>
                  </a:cubicBezTo>
                  <a:cubicBezTo>
                    <a:pt x="771" y="578"/>
                    <a:pt x="771" y="578"/>
                    <a:pt x="771" y="578"/>
                  </a:cubicBezTo>
                  <a:cubicBezTo>
                    <a:pt x="431" y="578"/>
                    <a:pt x="431" y="578"/>
                    <a:pt x="431" y="578"/>
                  </a:cubicBezTo>
                  <a:cubicBezTo>
                    <a:pt x="431" y="1348"/>
                    <a:pt x="431" y="1348"/>
                    <a:pt x="431" y="1348"/>
                  </a:cubicBezTo>
                  <a:cubicBezTo>
                    <a:pt x="431" y="1518"/>
                    <a:pt x="465" y="1564"/>
                    <a:pt x="590" y="1564"/>
                  </a:cubicBezTo>
                  <a:cubicBezTo>
                    <a:pt x="658" y="1564"/>
                    <a:pt x="714" y="1552"/>
                    <a:pt x="771" y="1529"/>
                  </a:cubicBezTo>
                  <a:cubicBezTo>
                    <a:pt x="771" y="1688"/>
                    <a:pt x="771" y="1688"/>
                    <a:pt x="771" y="1688"/>
                  </a:cubicBezTo>
                  <a:cubicBezTo>
                    <a:pt x="714" y="1700"/>
                    <a:pt x="647" y="1711"/>
                    <a:pt x="556" y="1711"/>
                  </a:cubicBezTo>
                  <a:cubicBezTo>
                    <a:pt x="340" y="1711"/>
                    <a:pt x="261" y="1631"/>
                    <a:pt x="261" y="1371"/>
                  </a:cubicBezTo>
                  <a:cubicBezTo>
                    <a:pt x="261" y="578"/>
                    <a:pt x="261" y="578"/>
                    <a:pt x="261" y="578"/>
                  </a:cubicBezTo>
                  <a:cubicBezTo>
                    <a:pt x="0" y="578"/>
                    <a:pt x="0" y="578"/>
                    <a:pt x="0" y="578"/>
                  </a:cubicBezTo>
                  <a:lnTo>
                    <a:pt x="0" y="431"/>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6" name="Freeform 13"/>
            <p:cNvSpPr>
              <a:spLocks noChangeArrowheads="1"/>
            </p:cNvSpPr>
            <p:nvPr/>
          </p:nvSpPr>
          <p:spPr bwMode="auto">
            <a:xfrm>
              <a:off x="5822625" y="3430637"/>
              <a:ext cx="66237" cy="654236"/>
            </a:xfrm>
            <a:custGeom>
              <a:avLst/>
              <a:gdLst>
                <a:gd name="T0" fmla="*/ 0 w 183"/>
                <a:gd name="T1" fmla="*/ 0 h 1803"/>
                <a:gd name="T2" fmla="*/ 182 w 183"/>
                <a:gd name="T3" fmla="*/ 0 h 1803"/>
                <a:gd name="T4" fmla="*/ 182 w 183"/>
                <a:gd name="T5" fmla="*/ 1802 h 1803"/>
                <a:gd name="T6" fmla="*/ 0 w 183"/>
                <a:gd name="T7" fmla="*/ 1802 h 1803"/>
                <a:gd name="T8" fmla="*/ 0 w 183"/>
                <a:gd name="T9" fmla="*/ 0 h 1803"/>
              </a:gdLst>
              <a:ahLst/>
              <a:cxnLst>
                <a:cxn ang="0">
                  <a:pos x="T0" y="T1"/>
                </a:cxn>
                <a:cxn ang="0">
                  <a:pos x="T2" y="T3"/>
                </a:cxn>
                <a:cxn ang="0">
                  <a:pos x="T4" y="T5"/>
                </a:cxn>
                <a:cxn ang="0">
                  <a:pos x="T6" y="T7"/>
                </a:cxn>
                <a:cxn ang="0">
                  <a:pos x="T8" y="T9"/>
                </a:cxn>
              </a:cxnLst>
              <a:rect l="0" t="0" r="r" b="b"/>
              <a:pathLst>
                <a:path w="183" h="1803">
                  <a:moveTo>
                    <a:pt x="0" y="0"/>
                  </a:moveTo>
                  <a:lnTo>
                    <a:pt x="182" y="0"/>
                  </a:lnTo>
                  <a:lnTo>
                    <a:pt x="182" y="1802"/>
                  </a:lnTo>
                  <a:lnTo>
                    <a:pt x="0" y="1802"/>
                  </a:lnTo>
                  <a:lnTo>
                    <a:pt x="0" y="0"/>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7" name="Freeform 14"/>
            <p:cNvSpPr>
              <a:spLocks noChangeArrowheads="1"/>
            </p:cNvSpPr>
            <p:nvPr/>
          </p:nvSpPr>
          <p:spPr bwMode="auto">
            <a:xfrm>
              <a:off x="6047820" y="3457340"/>
              <a:ext cx="92722" cy="627533"/>
            </a:xfrm>
            <a:custGeom>
              <a:avLst/>
              <a:gdLst>
                <a:gd name="T0" fmla="*/ 125 w 239"/>
                <a:gd name="T1" fmla="*/ 227 h 1746"/>
                <a:gd name="T2" fmla="*/ 125 w 239"/>
                <a:gd name="T3" fmla="*/ 227 h 1746"/>
                <a:gd name="T4" fmla="*/ 0 w 239"/>
                <a:gd name="T5" fmla="*/ 113 h 1746"/>
                <a:gd name="T6" fmla="*/ 125 w 239"/>
                <a:gd name="T7" fmla="*/ 0 h 1746"/>
                <a:gd name="T8" fmla="*/ 238 w 239"/>
                <a:gd name="T9" fmla="*/ 113 h 1746"/>
                <a:gd name="T10" fmla="*/ 125 w 239"/>
                <a:gd name="T11" fmla="*/ 227 h 1746"/>
                <a:gd name="T12" fmla="*/ 34 w 239"/>
                <a:gd name="T13" fmla="*/ 476 h 1746"/>
                <a:gd name="T14" fmla="*/ 34 w 239"/>
                <a:gd name="T15" fmla="*/ 476 h 1746"/>
                <a:gd name="T16" fmla="*/ 204 w 239"/>
                <a:gd name="T17" fmla="*/ 476 h 1746"/>
                <a:gd name="T18" fmla="*/ 204 w 239"/>
                <a:gd name="T19" fmla="*/ 1745 h 1746"/>
                <a:gd name="T20" fmla="*/ 34 w 239"/>
                <a:gd name="T21" fmla="*/ 1745 h 1746"/>
                <a:gd name="T22" fmla="*/ 34 w 239"/>
                <a:gd name="T23" fmla="*/ 47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9" h="1746">
                  <a:moveTo>
                    <a:pt x="125" y="227"/>
                  </a:moveTo>
                  <a:lnTo>
                    <a:pt x="125" y="227"/>
                  </a:lnTo>
                  <a:cubicBezTo>
                    <a:pt x="57" y="227"/>
                    <a:pt x="0" y="181"/>
                    <a:pt x="0" y="113"/>
                  </a:cubicBezTo>
                  <a:cubicBezTo>
                    <a:pt x="0" y="45"/>
                    <a:pt x="57" y="0"/>
                    <a:pt x="125" y="0"/>
                  </a:cubicBezTo>
                  <a:cubicBezTo>
                    <a:pt x="193" y="0"/>
                    <a:pt x="238" y="45"/>
                    <a:pt x="238" y="113"/>
                  </a:cubicBezTo>
                  <a:cubicBezTo>
                    <a:pt x="238" y="181"/>
                    <a:pt x="193" y="227"/>
                    <a:pt x="125" y="227"/>
                  </a:cubicBezTo>
                  <a:close/>
                  <a:moveTo>
                    <a:pt x="34" y="476"/>
                  </a:moveTo>
                  <a:lnTo>
                    <a:pt x="34" y="476"/>
                  </a:lnTo>
                  <a:cubicBezTo>
                    <a:pt x="204" y="476"/>
                    <a:pt x="204" y="476"/>
                    <a:pt x="204" y="476"/>
                  </a:cubicBezTo>
                  <a:cubicBezTo>
                    <a:pt x="204" y="1745"/>
                    <a:pt x="204" y="1745"/>
                    <a:pt x="204" y="1745"/>
                  </a:cubicBezTo>
                  <a:cubicBezTo>
                    <a:pt x="34" y="1745"/>
                    <a:pt x="34" y="1745"/>
                    <a:pt x="34" y="1745"/>
                  </a:cubicBezTo>
                  <a:lnTo>
                    <a:pt x="34" y="476"/>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8" name="Freeform 15"/>
            <p:cNvSpPr>
              <a:spLocks noChangeArrowheads="1"/>
            </p:cNvSpPr>
            <p:nvPr/>
          </p:nvSpPr>
          <p:spPr bwMode="auto">
            <a:xfrm>
              <a:off x="6273007" y="3617560"/>
              <a:ext cx="384154" cy="480660"/>
            </a:xfrm>
            <a:custGeom>
              <a:avLst/>
              <a:gdLst>
                <a:gd name="T0" fmla="*/ 170 w 1078"/>
                <a:gd name="T1" fmla="*/ 702 h 1326"/>
                <a:gd name="T2" fmla="*/ 170 w 1078"/>
                <a:gd name="T3" fmla="*/ 702 h 1326"/>
                <a:gd name="T4" fmla="*/ 590 w 1078"/>
                <a:gd name="T5" fmla="*/ 1189 h 1326"/>
                <a:gd name="T6" fmla="*/ 986 w 1078"/>
                <a:gd name="T7" fmla="*/ 1053 h 1326"/>
                <a:gd name="T8" fmla="*/ 1043 w 1078"/>
                <a:gd name="T9" fmla="*/ 1200 h 1326"/>
                <a:gd name="T10" fmla="*/ 567 w 1078"/>
                <a:gd name="T11" fmla="*/ 1325 h 1326"/>
                <a:gd name="T12" fmla="*/ 0 w 1078"/>
                <a:gd name="T13" fmla="*/ 679 h 1326"/>
                <a:gd name="T14" fmla="*/ 567 w 1078"/>
                <a:gd name="T15" fmla="*/ 0 h 1326"/>
                <a:gd name="T16" fmla="*/ 1077 w 1078"/>
                <a:gd name="T17" fmla="*/ 600 h 1326"/>
                <a:gd name="T18" fmla="*/ 1066 w 1078"/>
                <a:gd name="T19" fmla="*/ 702 h 1326"/>
                <a:gd name="T20" fmla="*/ 170 w 1078"/>
                <a:gd name="T21" fmla="*/ 702 h 1326"/>
                <a:gd name="T22" fmla="*/ 170 w 1078"/>
                <a:gd name="T23" fmla="*/ 566 h 1326"/>
                <a:gd name="T24" fmla="*/ 170 w 1078"/>
                <a:gd name="T25" fmla="*/ 566 h 1326"/>
                <a:gd name="T26" fmla="*/ 907 w 1078"/>
                <a:gd name="T27" fmla="*/ 566 h 1326"/>
                <a:gd name="T28" fmla="*/ 567 w 1078"/>
                <a:gd name="T29" fmla="*/ 136 h 1326"/>
                <a:gd name="T30" fmla="*/ 170 w 1078"/>
                <a:gd name="T31" fmla="*/ 566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8" h="1326">
                  <a:moveTo>
                    <a:pt x="170" y="702"/>
                  </a:moveTo>
                  <a:lnTo>
                    <a:pt x="170" y="702"/>
                  </a:lnTo>
                  <a:cubicBezTo>
                    <a:pt x="181" y="1042"/>
                    <a:pt x="352" y="1189"/>
                    <a:pt x="590" y="1189"/>
                  </a:cubicBezTo>
                  <a:cubicBezTo>
                    <a:pt x="726" y="1189"/>
                    <a:pt x="850" y="1144"/>
                    <a:pt x="986" y="1053"/>
                  </a:cubicBezTo>
                  <a:cubicBezTo>
                    <a:pt x="1043" y="1200"/>
                    <a:pt x="1043" y="1200"/>
                    <a:pt x="1043" y="1200"/>
                  </a:cubicBezTo>
                  <a:cubicBezTo>
                    <a:pt x="907" y="1280"/>
                    <a:pt x="737" y="1325"/>
                    <a:pt x="567" y="1325"/>
                  </a:cubicBezTo>
                  <a:cubicBezTo>
                    <a:pt x="227" y="1325"/>
                    <a:pt x="0" y="1110"/>
                    <a:pt x="0" y="679"/>
                  </a:cubicBezTo>
                  <a:cubicBezTo>
                    <a:pt x="0" y="238"/>
                    <a:pt x="250" y="0"/>
                    <a:pt x="567" y="0"/>
                  </a:cubicBezTo>
                  <a:cubicBezTo>
                    <a:pt x="873" y="0"/>
                    <a:pt x="1077" y="204"/>
                    <a:pt x="1077" y="600"/>
                  </a:cubicBezTo>
                  <a:cubicBezTo>
                    <a:pt x="1077" y="645"/>
                    <a:pt x="1077" y="668"/>
                    <a:pt x="1066" y="702"/>
                  </a:cubicBezTo>
                  <a:lnTo>
                    <a:pt x="170" y="702"/>
                  </a:lnTo>
                  <a:close/>
                  <a:moveTo>
                    <a:pt x="170" y="566"/>
                  </a:moveTo>
                  <a:lnTo>
                    <a:pt x="170" y="566"/>
                  </a:lnTo>
                  <a:cubicBezTo>
                    <a:pt x="907" y="566"/>
                    <a:pt x="907" y="566"/>
                    <a:pt x="907" y="566"/>
                  </a:cubicBezTo>
                  <a:cubicBezTo>
                    <a:pt x="907" y="261"/>
                    <a:pt x="760" y="136"/>
                    <a:pt x="567" y="136"/>
                  </a:cubicBezTo>
                  <a:cubicBezTo>
                    <a:pt x="352" y="136"/>
                    <a:pt x="193" y="295"/>
                    <a:pt x="170" y="566"/>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9" name="Freeform 16"/>
            <p:cNvSpPr>
              <a:spLocks noChangeArrowheads="1"/>
            </p:cNvSpPr>
            <p:nvPr/>
          </p:nvSpPr>
          <p:spPr bwMode="auto">
            <a:xfrm>
              <a:off x="6802869" y="3430637"/>
              <a:ext cx="397396" cy="654236"/>
            </a:xfrm>
            <a:custGeom>
              <a:avLst/>
              <a:gdLst>
                <a:gd name="T0" fmla="*/ 170 w 1100"/>
                <a:gd name="T1" fmla="*/ 0 h 1825"/>
                <a:gd name="T2" fmla="*/ 170 w 1100"/>
                <a:gd name="T3" fmla="*/ 0 h 1825"/>
                <a:gd name="T4" fmla="*/ 170 w 1100"/>
                <a:gd name="T5" fmla="*/ 714 h 1825"/>
                <a:gd name="T6" fmla="*/ 601 w 1100"/>
                <a:gd name="T7" fmla="*/ 499 h 1825"/>
                <a:gd name="T8" fmla="*/ 1099 w 1100"/>
                <a:gd name="T9" fmla="*/ 1155 h 1825"/>
                <a:gd name="T10" fmla="*/ 578 w 1100"/>
                <a:gd name="T11" fmla="*/ 1824 h 1825"/>
                <a:gd name="T12" fmla="*/ 158 w 1100"/>
                <a:gd name="T13" fmla="*/ 1620 h 1825"/>
                <a:gd name="T14" fmla="*/ 158 w 1100"/>
                <a:gd name="T15" fmla="*/ 1802 h 1825"/>
                <a:gd name="T16" fmla="*/ 0 w 1100"/>
                <a:gd name="T17" fmla="*/ 1802 h 1825"/>
                <a:gd name="T18" fmla="*/ 0 w 1100"/>
                <a:gd name="T19" fmla="*/ 0 h 1825"/>
                <a:gd name="T20" fmla="*/ 170 w 1100"/>
                <a:gd name="T21" fmla="*/ 0 h 1825"/>
                <a:gd name="T22" fmla="*/ 170 w 1100"/>
                <a:gd name="T23" fmla="*/ 862 h 1825"/>
                <a:gd name="T24" fmla="*/ 170 w 1100"/>
                <a:gd name="T25" fmla="*/ 862 h 1825"/>
                <a:gd name="T26" fmla="*/ 170 w 1100"/>
                <a:gd name="T27" fmla="*/ 1484 h 1825"/>
                <a:gd name="T28" fmla="*/ 555 w 1100"/>
                <a:gd name="T29" fmla="*/ 1677 h 1825"/>
                <a:gd name="T30" fmla="*/ 929 w 1100"/>
                <a:gd name="T31" fmla="*/ 1167 h 1825"/>
                <a:gd name="T32" fmla="*/ 567 w 1100"/>
                <a:gd name="T33" fmla="*/ 646 h 1825"/>
                <a:gd name="T34" fmla="*/ 170 w 1100"/>
                <a:gd name="T35" fmla="*/ 862 h 1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0" h="1825">
                  <a:moveTo>
                    <a:pt x="170" y="0"/>
                  </a:moveTo>
                  <a:lnTo>
                    <a:pt x="170" y="0"/>
                  </a:lnTo>
                  <a:cubicBezTo>
                    <a:pt x="170" y="714"/>
                    <a:pt x="170" y="714"/>
                    <a:pt x="170" y="714"/>
                  </a:cubicBezTo>
                  <a:cubicBezTo>
                    <a:pt x="283" y="578"/>
                    <a:pt x="431" y="499"/>
                    <a:pt x="601" y="499"/>
                  </a:cubicBezTo>
                  <a:cubicBezTo>
                    <a:pt x="884" y="499"/>
                    <a:pt x="1099" y="726"/>
                    <a:pt x="1099" y="1155"/>
                  </a:cubicBezTo>
                  <a:cubicBezTo>
                    <a:pt x="1099" y="1597"/>
                    <a:pt x="873" y="1824"/>
                    <a:pt x="578" y="1824"/>
                  </a:cubicBezTo>
                  <a:cubicBezTo>
                    <a:pt x="419" y="1824"/>
                    <a:pt x="283" y="1756"/>
                    <a:pt x="158" y="1620"/>
                  </a:cubicBezTo>
                  <a:cubicBezTo>
                    <a:pt x="158" y="1802"/>
                    <a:pt x="158" y="1802"/>
                    <a:pt x="158" y="1802"/>
                  </a:cubicBezTo>
                  <a:cubicBezTo>
                    <a:pt x="0" y="1802"/>
                    <a:pt x="0" y="1802"/>
                    <a:pt x="0" y="1802"/>
                  </a:cubicBezTo>
                  <a:cubicBezTo>
                    <a:pt x="0" y="0"/>
                    <a:pt x="0" y="0"/>
                    <a:pt x="0" y="0"/>
                  </a:cubicBezTo>
                  <a:lnTo>
                    <a:pt x="170" y="0"/>
                  </a:lnTo>
                  <a:close/>
                  <a:moveTo>
                    <a:pt x="170" y="862"/>
                  </a:moveTo>
                  <a:lnTo>
                    <a:pt x="170" y="862"/>
                  </a:lnTo>
                  <a:cubicBezTo>
                    <a:pt x="170" y="1484"/>
                    <a:pt x="170" y="1484"/>
                    <a:pt x="170" y="1484"/>
                  </a:cubicBezTo>
                  <a:cubicBezTo>
                    <a:pt x="283" y="1609"/>
                    <a:pt x="408" y="1677"/>
                    <a:pt x="555" y="1677"/>
                  </a:cubicBezTo>
                  <a:cubicBezTo>
                    <a:pt x="771" y="1677"/>
                    <a:pt x="929" y="1518"/>
                    <a:pt x="929" y="1167"/>
                  </a:cubicBezTo>
                  <a:cubicBezTo>
                    <a:pt x="929" y="816"/>
                    <a:pt x="782" y="646"/>
                    <a:pt x="567" y="646"/>
                  </a:cubicBezTo>
                  <a:cubicBezTo>
                    <a:pt x="419" y="646"/>
                    <a:pt x="283" y="737"/>
                    <a:pt x="170" y="862"/>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30" name="Freeform 17"/>
            <p:cNvSpPr>
              <a:spLocks noChangeArrowheads="1"/>
            </p:cNvSpPr>
            <p:nvPr/>
          </p:nvSpPr>
          <p:spPr bwMode="auto">
            <a:xfrm>
              <a:off x="7597662" y="3163603"/>
              <a:ext cx="52986" cy="1241710"/>
            </a:xfrm>
            <a:custGeom>
              <a:avLst/>
              <a:gdLst>
                <a:gd name="T0" fmla="*/ 158 w 159"/>
                <a:gd name="T1" fmla="*/ 3467 h 3468"/>
                <a:gd name="T2" fmla="*/ 0 w 159"/>
                <a:gd name="T3" fmla="*/ 3467 h 3468"/>
                <a:gd name="T4" fmla="*/ 0 w 159"/>
                <a:gd name="T5" fmla="*/ 0 h 3468"/>
                <a:gd name="T6" fmla="*/ 158 w 159"/>
                <a:gd name="T7" fmla="*/ 0 h 3468"/>
                <a:gd name="T8" fmla="*/ 158 w 159"/>
                <a:gd name="T9" fmla="*/ 3467 h 3468"/>
              </a:gdLst>
              <a:ahLst/>
              <a:cxnLst>
                <a:cxn ang="0">
                  <a:pos x="T0" y="T1"/>
                </a:cxn>
                <a:cxn ang="0">
                  <a:pos x="T2" y="T3"/>
                </a:cxn>
                <a:cxn ang="0">
                  <a:pos x="T4" y="T5"/>
                </a:cxn>
                <a:cxn ang="0">
                  <a:pos x="T6" y="T7"/>
                </a:cxn>
                <a:cxn ang="0">
                  <a:pos x="T8" y="T9"/>
                </a:cxn>
              </a:cxnLst>
              <a:rect l="0" t="0" r="r" b="b"/>
              <a:pathLst>
                <a:path w="159" h="3468">
                  <a:moveTo>
                    <a:pt x="158" y="3467"/>
                  </a:moveTo>
                  <a:lnTo>
                    <a:pt x="0" y="3467"/>
                  </a:lnTo>
                  <a:lnTo>
                    <a:pt x="0" y="0"/>
                  </a:lnTo>
                  <a:lnTo>
                    <a:pt x="158" y="0"/>
                  </a:lnTo>
                  <a:lnTo>
                    <a:pt x="158" y="3467"/>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grpSp>
    </p:spTree>
    <p:extLst>
      <p:ext uri="{BB962C8B-B14F-4D97-AF65-F5344CB8AC3E}">
        <p14:creationId xmlns:p14="http://schemas.microsoft.com/office/powerpoint/2010/main" val="87293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White_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sz="133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a:t>
            </a:r>
          </a:p>
        </p:txBody>
      </p:sp>
      <p:sp>
        <p:nvSpPr>
          <p:cNvPr id="7" name="Title 6"/>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3" name="Footer Placeholder 4"/>
          <p:cNvSpPr>
            <a:spLocks noGrp="1"/>
          </p:cNvSpPr>
          <p:nvPr>
            <p:ph type="ftr" sz="quarter" idx="10"/>
          </p:nvPr>
        </p:nvSpPr>
        <p:spPr/>
        <p:txBody>
          <a:bodyPr/>
          <a:lstStyle>
            <a:lvl1pPr>
              <a:defRPr dirty="0">
                <a:solidFill>
                  <a:schemeClr val="tx1"/>
                </a:solidFill>
              </a:defRPr>
            </a:lvl1pPr>
          </a:lstStyle>
          <a:p>
            <a:pPr>
              <a:defRPr/>
            </a:pPr>
            <a:endParaRPr lang="en-US" dirty="0"/>
          </a:p>
        </p:txBody>
      </p:sp>
      <p:grpSp>
        <p:nvGrpSpPr>
          <p:cNvPr id="35" name="Group 34"/>
          <p:cNvGrpSpPr/>
          <p:nvPr userDrawn="1"/>
        </p:nvGrpSpPr>
        <p:grpSpPr>
          <a:xfrm>
            <a:off x="9973136" y="6523092"/>
            <a:ext cx="1610056" cy="202589"/>
            <a:chOff x="20638" y="3136900"/>
            <a:chExt cx="10080625" cy="1268413"/>
          </a:xfrm>
          <a:solidFill>
            <a:schemeClr val="bg1"/>
          </a:solidFill>
        </p:grpSpPr>
        <p:sp>
          <p:nvSpPr>
            <p:cNvPr id="36" name="Freeform 1"/>
            <p:cNvSpPr>
              <a:spLocks noChangeArrowheads="1"/>
            </p:cNvSpPr>
            <p:nvPr/>
          </p:nvSpPr>
          <p:spPr bwMode="auto">
            <a:xfrm>
              <a:off x="8088313" y="3136900"/>
              <a:ext cx="2012950" cy="1247775"/>
            </a:xfrm>
            <a:custGeom>
              <a:avLst/>
              <a:gdLst>
                <a:gd name="T0" fmla="*/ 4671 w 5590"/>
                <a:gd name="T1" fmla="*/ 986 h 3468"/>
                <a:gd name="T2" fmla="*/ 4671 w 5590"/>
                <a:gd name="T3" fmla="*/ 986 h 3468"/>
                <a:gd name="T4" fmla="*/ 4070 w 5590"/>
                <a:gd name="T5" fmla="*/ 986 h 3468"/>
                <a:gd name="T6" fmla="*/ 4070 w 5590"/>
                <a:gd name="T7" fmla="*/ 0 h 3468"/>
                <a:gd name="T8" fmla="*/ 3333 w 5590"/>
                <a:gd name="T9" fmla="*/ 0 h 3468"/>
                <a:gd name="T10" fmla="*/ 3038 w 5590"/>
                <a:gd name="T11" fmla="*/ 544 h 3468"/>
                <a:gd name="T12" fmla="*/ 2732 w 5590"/>
                <a:gd name="T13" fmla="*/ 0 h 3468"/>
                <a:gd name="T14" fmla="*/ 2006 w 5590"/>
                <a:gd name="T15" fmla="*/ 0 h 3468"/>
                <a:gd name="T16" fmla="*/ 2006 w 5590"/>
                <a:gd name="T17" fmla="*/ 1337 h 3468"/>
                <a:gd name="T18" fmla="*/ 1236 w 5590"/>
                <a:gd name="T19" fmla="*/ 1076 h 3468"/>
                <a:gd name="T20" fmla="*/ 352 w 5590"/>
                <a:gd name="T21" fmla="*/ 1428 h 3468"/>
                <a:gd name="T22" fmla="*/ 91 w 5590"/>
                <a:gd name="T23" fmla="*/ 1812 h 3468"/>
                <a:gd name="T24" fmla="*/ 0 w 5590"/>
                <a:gd name="T25" fmla="*/ 2277 h 3468"/>
                <a:gd name="T26" fmla="*/ 0 w 5590"/>
                <a:gd name="T27" fmla="*/ 2277 h 3468"/>
                <a:gd name="T28" fmla="*/ 352 w 5590"/>
                <a:gd name="T29" fmla="*/ 3127 h 3468"/>
                <a:gd name="T30" fmla="*/ 1236 w 5590"/>
                <a:gd name="T31" fmla="*/ 3467 h 3468"/>
                <a:gd name="T32" fmla="*/ 2108 w 5590"/>
                <a:gd name="T33" fmla="*/ 3116 h 3468"/>
                <a:gd name="T34" fmla="*/ 2369 w 5590"/>
                <a:gd name="T35" fmla="*/ 2742 h 3468"/>
                <a:gd name="T36" fmla="*/ 2460 w 5590"/>
                <a:gd name="T37" fmla="*/ 2277 h 3468"/>
                <a:gd name="T38" fmla="*/ 2460 w 5590"/>
                <a:gd name="T39" fmla="*/ 2266 h 3468"/>
                <a:gd name="T40" fmla="*/ 2369 w 5590"/>
                <a:gd name="T41" fmla="*/ 1812 h 3468"/>
                <a:gd name="T42" fmla="*/ 2641 w 5590"/>
                <a:gd name="T43" fmla="*/ 1812 h 3468"/>
                <a:gd name="T44" fmla="*/ 2641 w 5590"/>
                <a:gd name="T45" fmla="*/ 1076 h 3468"/>
                <a:gd name="T46" fmla="*/ 3038 w 5590"/>
                <a:gd name="T47" fmla="*/ 1643 h 3468"/>
                <a:gd name="T48" fmla="*/ 3423 w 5590"/>
                <a:gd name="T49" fmla="*/ 1076 h 3468"/>
                <a:gd name="T50" fmla="*/ 3423 w 5590"/>
                <a:gd name="T51" fmla="*/ 1812 h 3468"/>
                <a:gd name="T52" fmla="*/ 4070 w 5590"/>
                <a:gd name="T53" fmla="*/ 1812 h 3468"/>
                <a:gd name="T54" fmla="*/ 4070 w 5590"/>
                <a:gd name="T55" fmla="*/ 2549 h 3468"/>
                <a:gd name="T56" fmla="*/ 4648 w 5590"/>
                <a:gd name="T57" fmla="*/ 2549 h 3468"/>
                <a:gd name="T58" fmla="*/ 5589 w 5590"/>
                <a:gd name="T59" fmla="*/ 1757 h 3468"/>
                <a:gd name="T60" fmla="*/ 5589 w 5590"/>
                <a:gd name="T61" fmla="*/ 1757 h 3468"/>
                <a:gd name="T62" fmla="*/ 4671 w 5590"/>
                <a:gd name="T63" fmla="*/ 986 h 3468"/>
                <a:gd name="T64" fmla="*/ 1621 w 5590"/>
                <a:gd name="T65" fmla="*/ 2277 h 3468"/>
                <a:gd name="T66" fmla="*/ 1621 w 5590"/>
                <a:gd name="T67" fmla="*/ 2277 h 3468"/>
                <a:gd name="T68" fmla="*/ 1236 w 5590"/>
                <a:gd name="T69" fmla="*/ 2685 h 3468"/>
                <a:gd name="T70" fmla="*/ 839 w 5590"/>
                <a:gd name="T71" fmla="*/ 2277 h 3468"/>
                <a:gd name="T72" fmla="*/ 839 w 5590"/>
                <a:gd name="T73" fmla="*/ 2266 h 3468"/>
                <a:gd name="T74" fmla="*/ 1236 w 5590"/>
                <a:gd name="T75" fmla="*/ 1858 h 3468"/>
                <a:gd name="T76" fmla="*/ 1621 w 5590"/>
                <a:gd name="T77" fmla="*/ 2277 h 3468"/>
                <a:gd name="T78" fmla="*/ 4671 w 5590"/>
                <a:gd name="T79" fmla="*/ 986 h 3468"/>
                <a:gd name="T80" fmla="*/ 5033 w 5590"/>
                <a:gd name="T81" fmla="*/ 1767 h 3468"/>
                <a:gd name="T82" fmla="*/ 5033 w 5590"/>
                <a:gd name="T83" fmla="*/ 1767 h 3468"/>
                <a:gd name="T84" fmla="*/ 4693 w 5590"/>
                <a:gd name="T85" fmla="*/ 2039 h 3468"/>
                <a:gd name="T86" fmla="*/ 4625 w 5590"/>
                <a:gd name="T87" fmla="*/ 2039 h 3468"/>
                <a:gd name="T88" fmla="*/ 4625 w 5590"/>
                <a:gd name="T89" fmla="*/ 1484 h 3468"/>
                <a:gd name="T90" fmla="*/ 4693 w 5590"/>
                <a:gd name="T91" fmla="*/ 1484 h 3468"/>
                <a:gd name="T92" fmla="*/ 5033 w 5590"/>
                <a:gd name="T93" fmla="*/ 1767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0" h="3468">
                  <a:moveTo>
                    <a:pt x="4671" y="986"/>
                  </a:moveTo>
                  <a:lnTo>
                    <a:pt x="4671" y="986"/>
                  </a:lnTo>
                  <a:cubicBezTo>
                    <a:pt x="4070" y="986"/>
                    <a:pt x="4070" y="986"/>
                    <a:pt x="4070" y="986"/>
                  </a:cubicBezTo>
                  <a:cubicBezTo>
                    <a:pt x="4070" y="0"/>
                    <a:pt x="4070" y="0"/>
                    <a:pt x="4070" y="0"/>
                  </a:cubicBezTo>
                  <a:cubicBezTo>
                    <a:pt x="3333" y="0"/>
                    <a:pt x="3333" y="0"/>
                    <a:pt x="3333" y="0"/>
                  </a:cubicBezTo>
                  <a:cubicBezTo>
                    <a:pt x="3038" y="544"/>
                    <a:pt x="3038" y="544"/>
                    <a:pt x="3038" y="544"/>
                  </a:cubicBezTo>
                  <a:cubicBezTo>
                    <a:pt x="2732" y="0"/>
                    <a:pt x="2732" y="0"/>
                    <a:pt x="2732" y="0"/>
                  </a:cubicBezTo>
                  <a:cubicBezTo>
                    <a:pt x="2006" y="0"/>
                    <a:pt x="2006" y="0"/>
                    <a:pt x="2006" y="0"/>
                  </a:cubicBezTo>
                  <a:cubicBezTo>
                    <a:pt x="2006" y="1337"/>
                    <a:pt x="2006" y="1337"/>
                    <a:pt x="2006" y="1337"/>
                  </a:cubicBezTo>
                  <a:cubicBezTo>
                    <a:pt x="1791" y="1167"/>
                    <a:pt x="1519" y="1076"/>
                    <a:pt x="1236" y="1076"/>
                  </a:cubicBezTo>
                  <a:cubicBezTo>
                    <a:pt x="896" y="1076"/>
                    <a:pt x="590" y="1201"/>
                    <a:pt x="352" y="1428"/>
                  </a:cubicBezTo>
                  <a:cubicBezTo>
                    <a:pt x="238" y="1541"/>
                    <a:pt x="159" y="1666"/>
                    <a:pt x="91" y="1812"/>
                  </a:cubicBezTo>
                  <a:cubicBezTo>
                    <a:pt x="34" y="1960"/>
                    <a:pt x="0" y="2107"/>
                    <a:pt x="0" y="2277"/>
                  </a:cubicBezTo>
                  <a:lnTo>
                    <a:pt x="0" y="2277"/>
                  </a:lnTo>
                  <a:cubicBezTo>
                    <a:pt x="0" y="2606"/>
                    <a:pt x="125" y="2901"/>
                    <a:pt x="352" y="3127"/>
                  </a:cubicBezTo>
                  <a:cubicBezTo>
                    <a:pt x="578" y="3342"/>
                    <a:pt x="896" y="3467"/>
                    <a:pt x="1236" y="3467"/>
                  </a:cubicBezTo>
                  <a:cubicBezTo>
                    <a:pt x="1564" y="3467"/>
                    <a:pt x="1882" y="3342"/>
                    <a:pt x="2108" y="3116"/>
                  </a:cubicBezTo>
                  <a:cubicBezTo>
                    <a:pt x="2222" y="3014"/>
                    <a:pt x="2313" y="2878"/>
                    <a:pt x="2369" y="2742"/>
                  </a:cubicBezTo>
                  <a:cubicBezTo>
                    <a:pt x="2426" y="2594"/>
                    <a:pt x="2460" y="2436"/>
                    <a:pt x="2460" y="2277"/>
                  </a:cubicBezTo>
                  <a:cubicBezTo>
                    <a:pt x="2460" y="2266"/>
                    <a:pt x="2460" y="2266"/>
                    <a:pt x="2460" y="2266"/>
                  </a:cubicBezTo>
                  <a:cubicBezTo>
                    <a:pt x="2460" y="2107"/>
                    <a:pt x="2437" y="1960"/>
                    <a:pt x="2369" y="1812"/>
                  </a:cubicBezTo>
                  <a:cubicBezTo>
                    <a:pt x="2641" y="1812"/>
                    <a:pt x="2641" y="1812"/>
                    <a:pt x="2641" y="1812"/>
                  </a:cubicBezTo>
                  <a:cubicBezTo>
                    <a:pt x="2641" y="1076"/>
                    <a:pt x="2641" y="1076"/>
                    <a:pt x="2641" y="1076"/>
                  </a:cubicBezTo>
                  <a:cubicBezTo>
                    <a:pt x="3038" y="1643"/>
                    <a:pt x="3038" y="1643"/>
                    <a:pt x="3038" y="1643"/>
                  </a:cubicBezTo>
                  <a:cubicBezTo>
                    <a:pt x="3423" y="1076"/>
                    <a:pt x="3423" y="1076"/>
                    <a:pt x="3423" y="1076"/>
                  </a:cubicBezTo>
                  <a:cubicBezTo>
                    <a:pt x="3423" y="1812"/>
                    <a:pt x="3423" y="1812"/>
                    <a:pt x="3423" y="1812"/>
                  </a:cubicBezTo>
                  <a:cubicBezTo>
                    <a:pt x="4070" y="1812"/>
                    <a:pt x="4070" y="1812"/>
                    <a:pt x="4070" y="1812"/>
                  </a:cubicBezTo>
                  <a:cubicBezTo>
                    <a:pt x="4070" y="2549"/>
                    <a:pt x="4070" y="2549"/>
                    <a:pt x="4070" y="2549"/>
                  </a:cubicBezTo>
                  <a:cubicBezTo>
                    <a:pt x="4648" y="2549"/>
                    <a:pt x="4648" y="2549"/>
                    <a:pt x="4648" y="2549"/>
                  </a:cubicBezTo>
                  <a:cubicBezTo>
                    <a:pt x="5282" y="2549"/>
                    <a:pt x="5589" y="2209"/>
                    <a:pt x="5589" y="1757"/>
                  </a:cubicBezTo>
                  <a:lnTo>
                    <a:pt x="5589" y="1757"/>
                  </a:lnTo>
                  <a:cubicBezTo>
                    <a:pt x="5589" y="1360"/>
                    <a:pt x="5294" y="986"/>
                    <a:pt x="4671" y="986"/>
                  </a:cubicBezTo>
                  <a:lnTo>
                    <a:pt x="1621" y="2277"/>
                  </a:lnTo>
                  <a:lnTo>
                    <a:pt x="1621" y="2277"/>
                  </a:lnTo>
                  <a:cubicBezTo>
                    <a:pt x="1621" y="2493"/>
                    <a:pt x="1485" y="2685"/>
                    <a:pt x="1236" y="2685"/>
                  </a:cubicBezTo>
                  <a:cubicBezTo>
                    <a:pt x="975" y="2685"/>
                    <a:pt x="839" y="2493"/>
                    <a:pt x="839" y="2277"/>
                  </a:cubicBezTo>
                  <a:cubicBezTo>
                    <a:pt x="839" y="2266"/>
                    <a:pt x="839" y="2266"/>
                    <a:pt x="839" y="2266"/>
                  </a:cubicBezTo>
                  <a:cubicBezTo>
                    <a:pt x="839" y="2062"/>
                    <a:pt x="975" y="1858"/>
                    <a:pt x="1236" y="1858"/>
                  </a:cubicBezTo>
                  <a:cubicBezTo>
                    <a:pt x="1485" y="1858"/>
                    <a:pt x="1621" y="2062"/>
                    <a:pt x="1621" y="2277"/>
                  </a:cubicBezTo>
                  <a:lnTo>
                    <a:pt x="4671" y="986"/>
                  </a:lnTo>
                  <a:close/>
                  <a:moveTo>
                    <a:pt x="5033" y="1767"/>
                  </a:moveTo>
                  <a:lnTo>
                    <a:pt x="5033" y="1767"/>
                  </a:lnTo>
                  <a:cubicBezTo>
                    <a:pt x="5033" y="1960"/>
                    <a:pt x="4897" y="2039"/>
                    <a:pt x="4693" y="2039"/>
                  </a:cubicBezTo>
                  <a:cubicBezTo>
                    <a:pt x="4625" y="2039"/>
                    <a:pt x="4625" y="2039"/>
                    <a:pt x="4625" y="2039"/>
                  </a:cubicBezTo>
                  <a:cubicBezTo>
                    <a:pt x="4625" y="1484"/>
                    <a:pt x="4625" y="1484"/>
                    <a:pt x="4625" y="1484"/>
                  </a:cubicBezTo>
                  <a:cubicBezTo>
                    <a:pt x="4693" y="1484"/>
                    <a:pt x="4693" y="1484"/>
                    <a:pt x="4693" y="1484"/>
                  </a:cubicBezTo>
                  <a:cubicBezTo>
                    <a:pt x="4897" y="1484"/>
                    <a:pt x="5033" y="1575"/>
                    <a:pt x="5033" y="1767"/>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37" name="Freeform 2"/>
            <p:cNvSpPr>
              <a:spLocks noChangeArrowheads="1"/>
            </p:cNvSpPr>
            <p:nvPr/>
          </p:nvSpPr>
          <p:spPr bwMode="auto">
            <a:xfrm>
              <a:off x="20638" y="3433763"/>
              <a:ext cx="677862" cy="649287"/>
            </a:xfrm>
            <a:custGeom>
              <a:avLst/>
              <a:gdLst>
                <a:gd name="T0" fmla="*/ 1746 w 1883"/>
                <a:gd name="T1" fmla="*/ 0 h 1803"/>
                <a:gd name="T2" fmla="*/ 1746 w 1883"/>
                <a:gd name="T3" fmla="*/ 0 h 1803"/>
                <a:gd name="T4" fmla="*/ 1882 w 1883"/>
                <a:gd name="T5" fmla="*/ 1802 h 1803"/>
                <a:gd name="T6" fmla="*/ 1700 w 1883"/>
                <a:gd name="T7" fmla="*/ 1802 h 1803"/>
                <a:gd name="T8" fmla="*/ 1621 w 1883"/>
                <a:gd name="T9" fmla="*/ 680 h 1803"/>
                <a:gd name="T10" fmla="*/ 1598 w 1883"/>
                <a:gd name="T11" fmla="*/ 193 h 1803"/>
                <a:gd name="T12" fmla="*/ 1598 w 1883"/>
                <a:gd name="T13" fmla="*/ 193 h 1803"/>
                <a:gd name="T14" fmla="*/ 1451 w 1883"/>
                <a:gd name="T15" fmla="*/ 657 h 1803"/>
                <a:gd name="T16" fmla="*/ 1020 w 1883"/>
                <a:gd name="T17" fmla="*/ 1802 h 1803"/>
                <a:gd name="T18" fmla="*/ 862 w 1883"/>
                <a:gd name="T19" fmla="*/ 1802 h 1803"/>
                <a:gd name="T20" fmla="*/ 442 w 1883"/>
                <a:gd name="T21" fmla="*/ 657 h 1803"/>
                <a:gd name="T22" fmla="*/ 283 w 1883"/>
                <a:gd name="T23" fmla="*/ 193 h 1803"/>
                <a:gd name="T24" fmla="*/ 283 w 1883"/>
                <a:gd name="T25" fmla="*/ 193 h 1803"/>
                <a:gd name="T26" fmla="*/ 260 w 1883"/>
                <a:gd name="T27" fmla="*/ 657 h 1803"/>
                <a:gd name="T28" fmla="*/ 181 w 1883"/>
                <a:gd name="T29" fmla="*/ 1802 h 1803"/>
                <a:gd name="T30" fmla="*/ 0 w 1883"/>
                <a:gd name="T31" fmla="*/ 1802 h 1803"/>
                <a:gd name="T32" fmla="*/ 147 w 1883"/>
                <a:gd name="T33" fmla="*/ 0 h 1803"/>
                <a:gd name="T34" fmla="*/ 385 w 1883"/>
                <a:gd name="T35" fmla="*/ 0 h 1803"/>
                <a:gd name="T36" fmla="*/ 793 w 1883"/>
                <a:gd name="T37" fmla="*/ 1121 h 1803"/>
                <a:gd name="T38" fmla="*/ 941 w 1883"/>
                <a:gd name="T39" fmla="*/ 1575 h 1803"/>
                <a:gd name="T40" fmla="*/ 941 w 1883"/>
                <a:gd name="T41" fmla="*/ 1575 h 1803"/>
                <a:gd name="T42" fmla="*/ 1099 w 1883"/>
                <a:gd name="T43" fmla="*/ 1133 h 1803"/>
                <a:gd name="T44" fmla="*/ 1508 w 1883"/>
                <a:gd name="T45" fmla="*/ 0 h 1803"/>
                <a:gd name="T46" fmla="*/ 1746 w 1883"/>
                <a:gd name="T47" fmla="*/ 0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83" h="1803">
                  <a:moveTo>
                    <a:pt x="1746" y="0"/>
                  </a:moveTo>
                  <a:lnTo>
                    <a:pt x="1746" y="0"/>
                  </a:lnTo>
                  <a:cubicBezTo>
                    <a:pt x="1882" y="1802"/>
                    <a:pt x="1882" y="1802"/>
                    <a:pt x="1882" y="1802"/>
                  </a:cubicBezTo>
                  <a:cubicBezTo>
                    <a:pt x="1700" y="1802"/>
                    <a:pt x="1700" y="1802"/>
                    <a:pt x="1700" y="1802"/>
                  </a:cubicBezTo>
                  <a:cubicBezTo>
                    <a:pt x="1621" y="680"/>
                    <a:pt x="1621" y="680"/>
                    <a:pt x="1621" y="680"/>
                  </a:cubicBezTo>
                  <a:cubicBezTo>
                    <a:pt x="1610" y="521"/>
                    <a:pt x="1610" y="295"/>
                    <a:pt x="1598" y="193"/>
                  </a:cubicBezTo>
                  <a:lnTo>
                    <a:pt x="1598" y="193"/>
                  </a:lnTo>
                  <a:cubicBezTo>
                    <a:pt x="1575" y="295"/>
                    <a:pt x="1508" y="510"/>
                    <a:pt x="1451" y="657"/>
                  </a:cubicBezTo>
                  <a:cubicBezTo>
                    <a:pt x="1020" y="1802"/>
                    <a:pt x="1020" y="1802"/>
                    <a:pt x="1020" y="1802"/>
                  </a:cubicBezTo>
                  <a:cubicBezTo>
                    <a:pt x="862" y="1802"/>
                    <a:pt x="862" y="1802"/>
                    <a:pt x="862" y="1802"/>
                  </a:cubicBezTo>
                  <a:cubicBezTo>
                    <a:pt x="442" y="657"/>
                    <a:pt x="442" y="657"/>
                    <a:pt x="442" y="657"/>
                  </a:cubicBezTo>
                  <a:cubicBezTo>
                    <a:pt x="374" y="488"/>
                    <a:pt x="306" y="284"/>
                    <a:pt x="283" y="193"/>
                  </a:cubicBezTo>
                  <a:lnTo>
                    <a:pt x="283" y="193"/>
                  </a:lnTo>
                  <a:cubicBezTo>
                    <a:pt x="283" y="238"/>
                    <a:pt x="272" y="510"/>
                    <a:pt x="260" y="657"/>
                  </a:cubicBezTo>
                  <a:cubicBezTo>
                    <a:pt x="181" y="1802"/>
                    <a:pt x="181" y="1802"/>
                    <a:pt x="181" y="1802"/>
                  </a:cubicBezTo>
                  <a:cubicBezTo>
                    <a:pt x="0" y="1802"/>
                    <a:pt x="0" y="1802"/>
                    <a:pt x="0" y="1802"/>
                  </a:cubicBezTo>
                  <a:cubicBezTo>
                    <a:pt x="147" y="0"/>
                    <a:pt x="147" y="0"/>
                    <a:pt x="147" y="0"/>
                  </a:cubicBezTo>
                  <a:cubicBezTo>
                    <a:pt x="385" y="0"/>
                    <a:pt x="385" y="0"/>
                    <a:pt x="385" y="0"/>
                  </a:cubicBezTo>
                  <a:cubicBezTo>
                    <a:pt x="793" y="1121"/>
                    <a:pt x="793" y="1121"/>
                    <a:pt x="793" y="1121"/>
                  </a:cubicBezTo>
                  <a:cubicBezTo>
                    <a:pt x="850" y="1291"/>
                    <a:pt x="895" y="1450"/>
                    <a:pt x="941" y="1575"/>
                  </a:cubicBezTo>
                  <a:lnTo>
                    <a:pt x="941" y="1575"/>
                  </a:lnTo>
                  <a:cubicBezTo>
                    <a:pt x="986" y="1427"/>
                    <a:pt x="1043" y="1280"/>
                    <a:pt x="1099" y="1133"/>
                  </a:cubicBezTo>
                  <a:cubicBezTo>
                    <a:pt x="1508" y="0"/>
                    <a:pt x="1508" y="0"/>
                    <a:pt x="1508" y="0"/>
                  </a:cubicBezTo>
                  <a:lnTo>
                    <a:pt x="1746"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38" name="Freeform 3"/>
            <p:cNvSpPr>
              <a:spLocks noChangeArrowheads="1"/>
            </p:cNvSpPr>
            <p:nvPr/>
          </p:nvSpPr>
          <p:spPr bwMode="auto">
            <a:xfrm>
              <a:off x="833438" y="3614738"/>
              <a:ext cx="368300" cy="477837"/>
            </a:xfrm>
            <a:custGeom>
              <a:avLst/>
              <a:gdLst>
                <a:gd name="T0" fmla="*/ 124 w 1021"/>
                <a:gd name="T1" fmla="*/ 283 h 1326"/>
                <a:gd name="T2" fmla="*/ 124 w 1021"/>
                <a:gd name="T3" fmla="*/ 283 h 1326"/>
                <a:gd name="T4" fmla="*/ 79 w 1021"/>
                <a:gd name="T5" fmla="*/ 147 h 1326"/>
                <a:gd name="T6" fmla="*/ 578 w 1021"/>
                <a:gd name="T7" fmla="*/ 0 h 1326"/>
                <a:gd name="T8" fmla="*/ 997 w 1021"/>
                <a:gd name="T9" fmla="*/ 419 h 1326"/>
                <a:gd name="T10" fmla="*/ 997 w 1021"/>
                <a:gd name="T11" fmla="*/ 1008 h 1326"/>
                <a:gd name="T12" fmla="*/ 1020 w 1021"/>
                <a:gd name="T13" fmla="*/ 1303 h 1326"/>
                <a:gd name="T14" fmla="*/ 861 w 1021"/>
                <a:gd name="T15" fmla="*/ 1303 h 1326"/>
                <a:gd name="T16" fmla="*/ 827 w 1021"/>
                <a:gd name="T17" fmla="*/ 1132 h 1326"/>
                <a:gd name="T18" fmla="*/ 396 w 1021"/>
                <a:gd name="T19" fmla="*/ 1325 h 1326"/>
                <a:gd name="T20" fmla="*/ 0 w 1021"/>
                <a:gd name="T21" fmla="*/ 940 h 1326"/>
                <a:gd name="T22" fmla="*/ 601 w 1021"/>
                <a:gd name="T23" fmla="*/ 520 h 1326"/>
                <a:gd name="T24" fmla="*/ 827 w 1021"/>
                <a:gd name="T25" fmla="*/ 543 h 1326"/>
                <a:gd name="T26" fmla="*/ 827 w 1021"/>
                <a:gd name="T27" fmla="*/ 431 h 1326"/>
                <a:gd name="T28" fmla="*/ 555 w 1021"/>
                <a:gd name="T29" fmla="*/ 147 h 1326"/>
                <a:gd name="T30" fmla="*/ 124 w 1021"/>
                <a:gd name="T31" fmla="*/ 283 h 1326"/>
                <a:gd name="T32" fmla="*/ 827 w 1021"/>
                <a:gd name="T33" fmla="*/ 668 h 1326"/>
                <a:gd name="T34" fmla="*/ 827 w 1021"/>
                <a:gd name="T35" fmla="*/ 668 h 1326"/>
                <a:gd name="T36" fmla="*/ 601 w 1021"/>
                <a:gd name="T37" fmla="*/ 645 h 1326"/>
                <a:gd name="T38" fmla="*/ 170 w 1021"/>
                <a:gd name="T39" fmla="*/ 928 h 1326"/>
                <a:gd name="T40" fmla="*/ 419 w 1021"/>
                <a:gd name="T41" fmla="*/ 1189 h 1326"/>
                <a:gd name="T42" fmla="*/ 827 w 1021"/>
                <a:gd name="T43" fmla="*/ 996 h 1326"/>
                <a:gd name="T44" fmla="*/ 827 w 1021"/>
                <a:gd name="T45" fmla="*/ 668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1" h="1326">
                  <a:moveTo>
                    <a:pt x="124" y="283"/>
                  </a:moveTo>
                  <a:lnTo>
                    <a:pt x="124" y="283"/>
                  </a:lnTo>
                  <a:cubicBezTo>
                    <a:pt x="79" y="147"/>
                    <a:pt x="79" y="147"/>
                    <a:pt x="79" y="147"/>
                  </a:cubicBezTo>
                  <a:cubicBezTo>
                    <a:pt x="204" y="68"/>
                    <a:pt x="385" y="0"/>
                    <a:pt x="578" y="0"/>
                  </a:cubicBezTo>
                  <a:cubicBezTo>
                    <a:pt x="839" y="0"/>
                    <a:pt x="997" y="113"/>
                    <a:pt x="997" y="419"/>
                  </a:cubicBezTo>
                  <a:cubicBezTo>
                    <a:pt x="997" y="1008"/>
                    <a:pt x="997" y="1008"/>
                    <a:pt x="997" y="1008"/>
                  </a:cubicBezTo>
                  <a:cubicBezTo>
                    <a:pt x="997" y="1200"/>
                    <a:pt x="1008" y="1268"/>
                    <a:pt x="1020" y="1303"/>
                  </a:cubicBezTo>
                  <a:cubicBezTo>
                    <a:pt x="861" y="1303"/>
                    <a:pt x="861" y="1303"/>
                    <a:pt x="861" y="1303"/>
                  </a:cubicBezTo>
                  <a:cubicBezTo>
                    <a:pt x="839" y="1280"/>
                    <a:pt x="827" y="1234"/>
                    <a:pt x="827" y="1132"/>
                  </a:cubicBezTo>
                  <a:cubicBezTo>
                    <a:pt x="714" y="1257"/>
                    <a:pt x="555" y="1325"/>
                    <a:pt x="396" y="1325"/>
                  </a:cubicBezTo>
                  <a:cubicBezTo>
                    <a:pt x="170" y="1325"/>
                    <a:pt x="0" y="1200"/>
                    <a:pt x="0" y="940"/>
                  </a:cubicBezTo>
                  <a:cubicBezTo>
                    <a:pt x="0" y="679"/>
                    <a:pt x="193" y="520"/>
                    <a:pt x="601" y="520"/>
                  </a:cubicBezTo>
                  <a:cubicBezTo>
                    <a:pt x="657" y="520"/>
                    <a:pt x="725" y="520"/>
                    <a:pt x="827" y="543"/>
                  </a:cubicBezTo>
                  <a:cubicBezTo>
                    <a:pt x="827" y="431"/>
                    <a:pt x="827" y="431"/>
                    <a:pt x="827" y="431"/>
                  </a:cubicBezTo>
                  <a:cubicBezTo>
                    <a:pt x="827" y="227"/>
                    <a:pt x="737" y="147"/>
                    <a:pt x="555" y="147"/>
                  </a:cubicBezTo>
                  <a:cubicBezTo>
                    <a:pt x="396" y="147"/>
                    <a:pt x="260" y="204"/>
                    <a:pt x="124" y="283"/>
                  </a:cubicBezTo>
                  <a:close/>
                  <a:moveTo>
                    <a:pt x="827" y="668"/>
                  </a:moveTo>
                  <a:lnTo>
                    <a:pt x="827" y="668"/>
                  </a:lnTo>
                  <a:cubicBezTo>
                    <a:pt x="725" y="656"/>
                    <a:pt x="668" y="645"/>
                    <a:pt x="601" y="645"/>
                  </a:cubicBezTo>
                  <a:cubicBezTo>
                    <a:pt x="295" y="645"/>
                    <a:pt x="170" y="747"/>
                    <a:pt x="170" y="928"/>
                  </a:cubicBezTo>
                  <a:cubicBezTo>
                    <a:pt x="170" y="1098"/>
                    <a:pt x="272" y="1189"/>
                    <a:pt x="419" y="1189"/>
                  </a:cubicBezTo>
                  <a:cubicBezTo>
                    <a:pt x="578" y="1189"/>
                    <a:pt x="714" y="1098"/>
                    <a:pt x="827" y="996"/>
                  </a:cubicBezTo>
                  <a:lnTo>
                    <a:pt x="827" y="668"/>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39" name="Freeform 4"/>
            <p:cNvSpPr>
              <a:spLocks noChangeArrowheads="1"/>
            </p:cNvSpPr>
            <p:nvPr/>
          </p:nvSpPr>
          <p:spPr bwMode="auto">
            <a:xfrm>
              <a:off x="1350963" y="3614738"/>
              <a:ext cx="371475" cy="469900"/>
            </a:xfrm>
            <a:custGeom>
              <a:avLst/>
              <a:gdLst>
                <a:gd name="T0" fmla="*/ 0 w 1033"/>
                <a:gd name="T1" fmla="*/ 34 h 1304"/>
                <a:gd name="T2" fmla="*/ 0 w 1033"/>
                <a:gd name="T3" fmla="*/ 34 h 1304"/>
                <a:gd name="T4" fmla="*/ 170 w 1033"/>
                <a:gd name="T5" fmla="*/ 34 h 1304"/>
                <a:gd name="T6" fmla="*/ 170 w 1033"/>
                <a:gd name="T7" fmla="*/ 227 h 1304"/>
                <a:gd name="T8" fmla="*/ 680 w 1033"/>
                <a:gd name="T9" fmla="*/ 0 h 1304"/>
                <a:gd name="T10" fmla="*/ 1032 w 1033"/>
                <a:gd name="T11" fmla="*/ 351 h 1304"/>
                <a:gd name="T12" fmla="*/ 1032 w 1033"/>
                <a:gd name="T13" fmla="*/ 1303 h 1304"/>
                <a:gd name="T14" fmla="*/ 862 w 1033"/>
                <a:gd name="T15" fmla="*/ 1303 h 1304"/>
                <a:gd name="T16" fmla="*/ 862 w 1033"/>
                <a:gd name="T17" fmla="*/ 385 h 1304"/>
                <a:gd name="T18" fmla="*/ 635 w 1033"/>
                <a:gd name="T19" fmla="*/ 158 h 1304"/>
                <a:gd name="T20" fmla="*/ 170 w 1033"/>
                <a:gd name="T21" fmla="*/ 374 h 1304"/>
                <a:gd name="T22" fmla="*/ 170 w 1033"/>
                <a:gd name="T23" fmla="*/ 1303 h 1304"/>
                <a:gd name="T24" fmla="*/ 0 w 1033"/>
                <a:gd name="T25" fmla="*/ 1303 h 1304"/>
                <a:gd name="T26" fmla="*/ 0 w 1033"/>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3" h="1304">
                  <a:moveTo>
                    <a:pt x="0" y="34"/>
                  </a:moveTo>
                  <a:lnTo>
                    <a:pt x="0" y="34"/>
                  </a:lnTo>
                  <a:cubicBezTo>
                    <a:pt x="170" y="34"/>
                    <a:pt x="170" y="34"/>
                    <a:pt x="170" y="34"/>
                  </a:cubicBezTo>
                  <a:cubicBezTo>
                    <a:pt x="170" y="227"/>
                    <a:pt x="170" y="227"/>
                    <a:pt x="170" y="227"/>
                  </a:cubicBezTo>
                  <a:cubicBezTo>
                    <a:pt x="295" y="102"/>
                    <a:pt x="477" y="0"/>
                    <a:pt x="680" y="0"/>
                  </a:cubicBezTo>
                  <a:cubicBezTo>
                    <a:pt x="873" y="0"/>
                    <a:pt x="1032" y="91"/>
                    <a:pt x="1032" y="351"/>
                  </a:cubicBezTo>
                  <a:cubicBezTo>
                    <a:pt x="1032" y="1303"/>
                    <a:pt x="1032" y="1303"/>
                    <a:pt x="1032" y="1303"/>
                  </a:cubicBezTo>
                  <a:cubicBezTo>
                    <a:pt x="862" y="1303"/>
                    <a:pt x="862" y="1303"/>
                    <a:pt x="862" y="1303"/>
                  </a:cubicBezTo>
                  <a:cubicBezTo>
                    <a:pt x="862" y="385"/>
                    <a:pt x="862" y="385"/>
                    <a:pt x="862" y="385"/>
                  </a:cubicBezTo>
                  <a:cubicBezTo>
                    <a:pt x="862" y="215"/>
                    <a:pt x="771" y="158"/>
                    <a:pt x="635" y="158"/>
                  </a:cubicBezTo>
                  <a:cubicBezTo>
                    <a:pt x="465" y="158"/>
                    <a:pt x="307" y="261"/>
                    <a:pt x="170" y="374"/>
                  </a:cubicBezTo>
                  <a:cubicBezTo>
                    <a:pt x="170" y="1303"/>
                    <a:pt x="170" y="1303"/>
                    <a:pt x="170" y="1303"/>
                  </a:cubicBezTo>
                  <a:cubicBezTo>
                    <a:pt x="0" y="1303"/>
                    <a:pt x="0" y="1303"/>
                    <a:pt x="0" y="1303"/>
                  </a:cubicBezTo>
                  <a:lnTo>
                    <a:pt x="0" y="3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0" name="Freeform 5"/>
            <p:cNvSpPr>
              <a:spLocks noChangeArrowheads="1"/>
            </p:cNvSpPr>
            <p:nvPr/>
          </p:nvSpPr>
          <p:spPr bwMode="auto">
            <a:xfrm>
              <a:off x="1885950" y="3614738"/>
              <a:ext cx="368300" cy="469900"/>
            </a:xfrm>
            <a:custGeom>
              <a:avLst/>
              <a:gdLst>
                <a:gd name="T0" fmla="*/ 0 w 1021"/>
                <a:gd name="T1" fmla="*/ 34 h 1304"/>
                <a:gd name="T2" fmla="*/ 0 w 1021"/>
                <a:gd name="T3" fmla="*/ 34 h 1304"/>
                <a:gd name="T4" fmla="*/ 171 w 1021"/>
                <a:gd name="T5" fmla="*/ 34 h 1304"/>
                <a:gd name="T6" fmla="*/ 171 w 1021"/>
                <a:gd name="T7" fmla="*/ 227 h 1304"/>
                <a:gd name="T8" fmla="*/ 681 w 1021"/>
                <a:gd name="T9" fmla="*/ 0 h 1304"/>
                <a:gd name="T10" fmla="*/ 1020 w 1021"/>
                <a:gd name="T11" fmla="*/ 351 h 1304"/>
                <a:gd name="T12" fmla="*/ 1020 w 1021"/>
                <a:gd name="T13" fmla="*/ 1303 h 1304"/>
                <a:gd name="T14" fmla="*/ 850 w 1021"/>
                <a:gd name="T15" fmla="*/ 1303 h 1304"/>
                <a:gd name="T16" fmla="*/ 850 w 1021"/>
                <a:gd name="T17" fmla="*/ 385 h 1304"/>
                <a:gd name="T18" fmla="*/ 635 w 1021"/>
                <a:gd name="T19" fmla="*/ 158 h 1304"/>
                <a:gd name="T20" fmla="*/ 171 w 1021"/>
                <a:gd name="T21" fmla="*/ 374 h 1304"/>
                <a:gd name="T22" fmla="*/ 171 w 1021"/>
                <a:gd name="T23" fmla="*/ 1303 h 1304"/>
                <a:gd name="T24" fmla="*/ 0 w 1021"/>
                <a:gd name="T25" fmla="*/ 1303 h 1304"/>
                <a:gd name="T26" fmla="*/ 0 w 1021"/>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1" h="1304">
                  <a:moveTo>
                    <a:pt x="0" y="34"/>
                  </a:moveTo>
                  <a:lnTo>
                    <a:pt x="0" y="34"/>
                  </a:lnTo>
                  <a:cubicBezTo>
                    <a:pt x="171" y="34"/>
                    <a:pt x="171" y="34"/>
                    <a:pt x="171" y="34"/>
                  </a:cubicBezTo>
                  <a:cubicBezTo>
                    <a:pt x="171" y="227"/>
                    <a:pt x="171" y="227"/>
                    <a:pt x="171" y="227"/>
                  </a:cubicBezTo>
                  <a:cubicBezTo>
                    <a:pt x="295" y="102"/>
                    <a:pt x="465" y="0"/>
                    <a:pt x="681" y="0"/>
                  </a:cubicBezTo>
                  <a:cubicBezTo>
                    <a:pt x="862" y="0"/>
                    <a:pt x="1020" y="91"/>
                    <a:pt x="1020" y="351"/>
                  </a:cubicBezTo>
                  <a:cubicBezTo>
                    <a:pt x="1020" y="1303"/>
                    <a:pt x="1020" y="1303"/>
                    <a:pt x="1020" y="1303"/>
                  </a:cubicBezTo>
                  <a:cubicBezTo>
                    <a:pt x="850" y="1303"/>
                    <a:pt x="850" y="1303"/>
                    <a:pt x="850" y="1303"/>
                  </a:cubicBezTo>
                  <a:cubicBezTo>
                    <a:pt x="850" y="385"/>
                    <a:pt x="850" y="385"/>
                    <a:pt x="850" y="385"/>
                  </a:cubicBezTo>
                  <a:cubicBezTo>
                    <a:pt x="850" y="215"/>
                    <a:pt x="760" y="158"/>
                    <a:pt x="635" y="158"/>
                  </a:cubicBezTo>
                  <a:cubicBezTo>
                    <a:pt x="454" y="158"/>
                    <a:pt x="295" y="261"/>
                    <a:pt x="171" y="374"/>
                  </a:cubicBezTo>
                  <a:cubicBezTo>
                    <a:pt x="171" y="1303"/>
                    <a:pt x="171" y="1303"/>
                    <a:pt x="171" y="1303"/>
                  </a:cubicBezTo>
                  <a:cubicBezTo>
                    <a:pt x="0" y="1303"/>
                    <a:pt x="0" y="1303"/>
                    <a:pt x="0" y="1303"/>
                  </a:cubicBezTo>
                  <a:lnTo>
                    <a:pt x="0" y="3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1" name="Freeform 6"/>
            <p:cNvSpPr>
              <a:spLocks noChangeArrowheads="1"/>
            </p:cNvSpPr>
            <p:nvPr/>
          </p:nvSpPr>
          <p:spPr bwMode="auto">
            <a:xfrm>
              <a:off x="2413000" y="3454400"/>
              <a:ext cx="80963" cy="628650"/>
            </a:xfrm>
            <a:custGeom>
              <a:avLst/>
              <a:gdLst>
                <a:gd name="T0" fmla="*/ 113 w 227"/>
                <a:gd name="T1" fmla="*/ 227 h 1746"/>
                <a:gd name="T2" fmla="*/ 113 w 227"/>
                <a:gd name="T3" fmla="*/ 227 h 1746"/>
                <a:gd name="T4" fmla="*/ 0 w 227"/>
                <a:gd name="T5" fmla="*/ 113 h 1746"/>
                <a:gd name="T6" fmla="*/ 113 w 227"/>
                <a:gd name="T7" fmla="*/ 0 h 1746"/>
                <a:gd name="T8" fmla="*/ 226 w 227"/>
                <a:gd name="T9" fmla="*/ 113 h 1746"/>
                <a:gd name="T10" fmla="*/ 113 w 227"/>
                <a:gd name="T11" fmla="*/ 227 h 1746"/>
                <a:gd name="T12" fmla="*/ 23 w 227"/>
                <a:gd name="T13" fmla="*/ 476 h 1746"/>
                <a:gd name="T14" fmla="*/ 23 w 227"/>
                <a:gd name="T15" fmla="*/ 476 h 1746"/>
                <a:gd name="T16" fmla="*/ 192 w 227"/>
                <a:gd name="T17" fmla="*/ 476 h 1746"/>
                <a:gd name="T18" fmla="*/ 192 w 227"/>
                <a:gd name="T19" fmla="*/ 1745 h 1746"/>
                <a:gd name="T20" fmla="*/ 23 w 227"/>
                <a:gd name="T21" fmla="*/ 1745 h 1746"/>
                <a:gd name="T22" fmla="*/ 23 w 227"/>
                <a:gd name="T23" fmla="*/ 47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746">
                  <a:moveTo>
                    <a:pt x="113" y="227"/>
                  </a:moveTo>
                  <a:lnTo>
                    <a:pt x="113" y="227"/>
                  </a:lnTo>
                  <a:cubicBezTo>
                    <a:pt x="45" y="227"/>
                    <a:pt x="0" y="181"/>
                    <a:pt x="0" y="113"/>
                  </a:cubicBezTo>
                  <a:cubicBezTo>
                    <a:pt x="0" y="45"/>
                    <a:pt x="45" y="0"/>
                    <a:pt x="113" y="0"/>
                  </a:cubicBezTo>
                  <a:cubicBezTo>
                    <a:pt x="181" y="0"/>
                    <a:pt x="226" y="45"/>
                    <a:pt x="226" y="113"/>
                  </a:cubicBezTo>
                  <a:cubicBezTo>
                    <a:pt x="226" y="181"/>
                    <a:pt x="181" y="227"/>
                    <a:pt x="113" y="227"/>
                  </a:cubicBezTo>
                  <a:close/>
                  <a:moveTo>
                    <a:pt x="23" y="476"/>
                  </a:moveTo>
                  <a:lnTo>
                    <a:pt x="23" y="476"/>
                  </a:lnTo>
                  <a:cubicBezTo>
                    <a:pt x="192" y="476"/>
                    <a:pt x="192" y="476"/>
                    <a:pt x="192" y="476"/>
                  </a:cubicBezTo>
                  <a:cubicBezTo>
                    <a:pt x="192" y="1745"/>
                    <a:pt x="192" y="1745"/>
                    <a:pt x="192" y="1745"/>
                  </a:cubicBezTo>
                  <a:cubicBezTo>
                    <a:pt x="23" y="1745"/>
                    <a:pt x="23" y="1745"/>
                    <a:pt x="23" y="1745"/>
                  </a:cubicBezTo>
                  <a:lnTo>
                    <a:pt x="23" y="476"/>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2" name="Freeform 7"/>
            <p:cNvSpPr>
              <a:spLocks noChangeArrowheads="1"/>
            </p:cNvSpPr>
            <p:nvPr/>
          </p:nvSpPr>
          <p:spPr bwMode="auto">
            <a:xfrm>
              <a:off x="2654300" y="3614738"/>
              <a:ext cx="371475" cy="469900"/>
            </a:xfrm>
            <a:custGeom>
              <a:avLst/>
              <a:gdLst>
                <a:gd name="T0" fmla="*/ 0 w 1032"/>
                <a:gd name="T1" fmla="*/ 34 h 1304"/>
                <a:gd name="T2" fmla="*/ 0 w 1032"/>
                <a:gd name="T3" fmla="*/ 34 h 1304"/>
                <a:gd name="T4" fmla="*/ 181 w 1032"/>
                <a:gd name="T5" fmla="*/ 34 h 1304"/>
                <a:gd name="T6" fmla="*/ 181 w 1032"/>
                <a:gd name="T7" fmla="*/ 227 h 1304"/>
                <a:gd name="T8" fmla="*/ 691 w 1032"/>
                <a:gd name="T9" fmla="*/ 0 h 1304"/>
                <a:gd name="T10" fmla="*/ 1031 w 1032"/>
                <a:gd name="T11" fmla="*/ 351 h 1304"/>
                <a:gd name="T12" fmla="*/ 1031 w 1032"/>
                <a:gd name="T13" fmla="*/ 1303 h 1304"/>
                <a:gd name="T14" fmla="*/ 861 w 1032"/>
                <a:gd name="T15" fmla="*/ 1303 h 1304"/>
                <a:gd name="T16" fmla="*/ 861 w 1032"/>
                <a:gd name="T17" fmla="*/ 385 h 1304"/>
                <a:gd name="T18" fmla="*/ 634 w 1032"/>
                <a:gd name="T19" fmla="*/ 158 h 1304"/>
                <a:gd name="T20" fmla="*/ 181 w 1032"/>
                <a:gd name="T21" fmla="*/ 374 h 1304"/>
                <a:gd name="T22" fmla="*/ 181 w 1032"/>
                <a:gd name="T23" fmla="*/ 1303 h 1304"/>
                <a:gd name="T24" fmla="*/ 0 w 1032"/>
                <a:gd name="T25" fmla="*/ 1303 h 1304"/>
                <a:gd name="T26" fmla="*/ 0 w 1032"/>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2" h="1304">
                  <a:moveTo>
                    <a:pt x="0" y="34"/>
                  </a:moveTo>
                  <a:lnTo>
                    <a:pt x="0" y="34"/>
                  </a:lnTo>
                  <a:cubicBezTo>
                    <a:pt x="181" y="34"/>
                    <a:pt x="181" y="34"/>
                    <a:pt x="181" y="34"/>
                  </a:cubicBezTo>
                  <a:cubicBezTo>
                    <a:pt x="181" y="227"/>
                    <a:pt x="181" y="227"/>
                    <a:pt x="181" y="227"/>
                  </a:cubicBezTo>
                  <a:cubicBezTo>
                    <a:pt x="294" y="102"/>
                    <a:pt x="476" y="0"/>
                    <a:pt x="691" y="0"/>
                  </a:cubicBezTo>
                  <a:cubicBezTo>
                    <a:pt x="872" y="0"/>
                    <a:pt x="1031" y="91"/>
                    <a:pt x="1031" y="351"/>
                  </a:cubicBezTo>
                  <a:cubicBezTo>
                    <a:pt x="1031" y="1303"/>
                    <a:pt x="1031" y="1303"/>
                    <a:pt x="1031" y="1303"/>
                  </a:cubicBezTo>
                  <a:cubicBezTo>
                    <a:pt x="861" y="1303"/>
                    <a:pt x="861" y="1303"/>
                    <a:pt x="861" y="1303"/>
                  </a:cubicBezTo>
                  <a:cubicBezTo>
                    <a:pt x="861" y="385"/>
                    <a:pt x="861" y="385"/>
                    <a:pt x="861" y="385"/>
                  </a:cubicBezTo>
                  <a:cubicBezTo>
                    <a:pt x="861" y="215"/>
                    <a:pt x="770" y="158"/>
                    <a:pt x="634" y="158"/>
                  </a:cubicBezTo>
                  <a:cubicBezTo>
                    <a:pt x="464" y="158"/>
                    <a:pt x="306" y="261"/>
                    <a:pt x="181" y="374"/>
                  </a:cubicBezTo>
                  <a:cubicBezTo>
                    <a:pt x="181" y="1303"/>
                    <a:pt x="181" y="1303"/>
                    <a:pt x="181" y="1303"/>
                  </a:cubicBezTo>
                  <a:cubicBezTo>
                    <a:pt x="0" y="1303"/>
                    <a:pt x="0" y="1303"/>
                    <a:pt x="0" y="1303"/>
                  </a:cubicBezTo>
                  <a:lnTo>
                    <a:pt x="0" y="3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3" name="Freeform 8"/>
            <p:cNvSpPr>
              <a:spLocks noChangeArrowheads="1"/>
            </p:cNvSpPr>
            <p:nvPr/>
          </p:nvSpPr>
          <p:spPr bwMode="auto">
            <a:xfrm>
              <a:off x="3135313" y="3614738"/>
              <a:ext cx="477837" cy="669925"/>
            </a:xfrm>
            <a:custGeom>
              <a:avLst/>
              <a:gdLst>
                <a:gd name="T0" fmla="*/ 612 w 1328"/>
                <a:gd name="T1" fmla="*/ 906 h 1859"/>
                <a:gd name="T2" fmla="*/ 612 w 1328"/>
                <a:gd name="T3" fmla="*/ 906 h 1859"/>
                <a:gd name="T4" fmla="*/ 386 w 1328"/>
                <a:gd name="T5" fmla="*/ 860 h 1859"/>
                <a:gd name="T6" fmla="*/ 295 w 1328"/>
                <a:gd name="T7" fmla="*/ 996 h 1859"/>
                <a:gd name="T8" fmla="*/ 533 w 1328"/>
                <a:gd name="T9" fmla="*/ 1110 h 1859"/>
                <a:gd name="T10" fmla="*/ 828 w 1328"/>
                <a:gd name="T11" fmla="*/ 1110 h 1859"/>
                <a:gd name="T12" fmla="*/ 1258 w 1328"/>
                <a:gd name="T13" fmla="*/ 1427 h 1859"/>
                <a:gd name="T14" fmla="*/ 556 w 1328"/>
                <a:gd name="T15" fmla="*/ 1858 h 1859"/>
                <a:gd name="T16" fmla="*/ 0 w 1328"/>
                <a:gd name="T17" fmla="*/ 1540 h 1859"/>
                <a:gd name="T18" fmla="*/ 272 w 1328"/>
                <a:gd name="T19" fmla="*/ 1223 h 1859"/>
                <a:gd name="T20" fmla="*/ 136 w 1328"/>
                <a:gd name="T21" fmla="*/ 1042 h 1859"/>
                <a:gd name="T22" fmla="*/ 284 w 1328"/>
                <a:gd name="T23" fmla="*/ 815 h 1859"/>
                <a:gd name="T24" fmla="*/ 91 w 1328"/>
                <a:gd name="T25" fmla="*/ 464 h 1859"/>
                <a:gd name="T26" fmla="*/ 635 w 1328"/>
                <a:gd name="T27" fmla="*/ 0 h 1859"/>
                <a:gd name="T28" fmla="*/ 1032 w 1328"/>
                <a:gd name="T29" fmla="*/ 125 h 1859"/>
                <a:gd name="T30" fmla="*/ 1270 w 1328"/>
                <a:gd name="T31" fmla="*/ 22 h 1859"/>
                <a:gd name="T32" fmla="*/ 1327 w 1328"/>
                <a:gd name="T33" fmla="*/ 34 h 1859"/>
                <a:gd name="T34" fmla="*/ 1327 w 1328"/>
                <a:gd name="T35" fmla="*/ 193 h 1859"/>
                <a:gd name="T36" fmla="*/ 1270 w 1328"/>
                <a:gd name="T37" fmla="*/ 193 h 1859"/>
                <a:gd name="T38" fmla="*/ 1111 w 1328"/>
                <a:gd name="T39" fmla="*/ 227 h 1859"/>
                <a:gd name="T40" fmla="*/ 1168 w 1328"/>
                <a:gd name="T41" fmla="*/ 441 h 1859"/>
                <a:gd name="T42" fmla="*/ 612 w 1328"/>
                <a:gd name="T43" fmla="*/ 906 h 1859"/>
                <a:gd name="T44" fmla="*/ 454 w 1328"/>
                <a:gd name="T45" fmla="*/ 1268 h 1859"/>
                <a:gd name="T46" fmla="*/ 454 w 1328"/>
                <a:gd name="T47" fmla="*/ 1268 h 1859"/>
                <a:gd name="T48" fmla="*/ 181 w 1328"/>
                <a:gd name="T49" fmla="*/ 1518 h 1859"/>
                <a:gd name="T50" fmla="*/ 578 w 1328"/>
                <a:gd name="T51" fmla="*/ 1722 h 1859"/>
                <a:gd name="T52" fmla="*/ 1088 w 1328"/>
                <a:gd name="T53" fmla="*/ 1450 h 1859"/>
                <a:gd name="T54" fmla="*/ 794 w 1328"/>
                <a:gd name="T55" fmla="*/ 1268 h 1859"/>
                <a:gd name="T56" fmla="*/ 454 w 1328"/>
                <a:gd name="T57" fmla="*/ 1268 h 1859"/>
                <a:gd name="T58" fmla="*/ 635 w 1328"/>
                <a:gd name="T59" fmla="*/ 770 h 1859"/>
                <a:gd name="T60" fmla="*/ 635 w 1328"/>
                <a:gd name="T61" fmla="*/ 770 h 1859"/>
                <a:gd name="T62" fmla="*/ 998 w 1328"/>
                <a:gd name="T63" fmla="*/ 452 h 1859"/>
                <a:gd name="T64" fmla="*/ 635 w 1328"/>
                <a:gd name="T65" fmla="*/ 136 h 1859"/>
                <a:gd name="T66" fmla="*/ 261 w 1328"/>
                <a:gd name="T67" fmla="*/ 452 h 1859"/>
                <a:gd name="T68" fmla="*/ 635 w 1328"/>
                <a:gd name="T69" fmla="*/ 770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28" h="1859">
                  <a:moveTo>
                    <a:pt x="612" y="906"/>
                  </a:moveTo>
                  <a:lnTo>
                    <a:pt x="612" y="906"/>
                  </a:lnTo>
                  <a:cubicBezTo>
                    <a:pt x="533" y="906"/>
                    <a:pt x="454" y="894"/>
                    <a:pt x="386" y="860"/>
                  </a:cubicBezTo>
                  <a:cubicBezTo>
                    <a:pt x="340" y="894"/>
                    <a:pt x="295" y="940"/>
                    <a:pt x="295" y="996"/>
                  </a:cubicBezTo>
                  <a:cubicBezTo>
                    <a:pt x="295" y="1110"/>
                    <a:pt x="420" y="1110"/>
                    <a:pt x="533" y="1110"/>
                  </a:cubicBezTo>
                  <a:cubicBezTo>
                    <a:pt x="828" y="1110"/>
                    <a:pt x="828" y="1110"/>
                    <a:pt x="828" y="1110"/>
                  </a:cubicBezTo>
                  <a:cubicBezTo>
                    <a:pt x="1100" y="1110"/>
                    <a:pt x="1258" y="1223"/>
                    <a:pt x="1258" y="1427"/>
                  </a:cubicBezTo>
                  <a:cubicBezTo>
                    <a:pt x="1258" y="1699"/>
                    <a:pt x="952" y="1858"/>
                    <a:pt x="556" y="1858"/>
                  </a:cubicBezTo>
                  <a:cubicBezTo>
                    <a:pt x="227" y="1858"/>
                    <a:pt x="0" y="1744"/>
                    <a:pt x="0" y="1540"/>
                  </a:cubicBezTo>
                  <a:cubicBezTo>
                    <a:pt x="0" y="1404"/>
                    <a:pt x="91" y="1291"/>
                    <a:pt x="272" y="1223"/>
                  </a:cubicBezTo>
                  <a:cubicBezTo>
                    <a:pt x="193" y="1189"/>
                    <a:pt x="136" y="1132"/>
                    <a:pt x="136" y="1042"/>
                  </a:cubicBezTo>
                  <a:cubicBezTo>
                    <a:pt x="136" y="940"/>
                    <a:pt x="204" y="872"/>
                    <a:pt x="284" y="815"/>
                  </a:cubicBezTo>
                  <a:cubicBezTo>
                    <a:pt x="170" y="747"/>
                    <a:pt x="91" y="622"/>
                    <a:pt x="91" y="464"/>
                  </a:cubicBezTo>
                  <a:cubicBezTo>
                    <a:pt x="91" y="170"/>
                    <a:pt x="340" y="0"/>
                    <a:pt x="635" y="0"/>
                  </a:cubicBezTo>
                  <a:cubicBezTo>
                    <a:pt x="794" y="0"/>
                    <a:pt x="930" y="45"/>
                    <a:pt x="1032" y="125"/>
                  </a:cubicBezTo>
                  <a:cubicBezTo>
                    <a:pt x="1077" y="79"/>
                    <a:pt x="1168" y="22"/>
                    <a:pt x="1270" y="22"/>
                  </a:cubicBezTo>
                  <a:cubicBezTo>
                    <a:pt x="1293" y="22"/>
                    <a:pt x="1304" y="22"/>
                    <a:pt x="1327" y="34"/>
                  </a:cubicBezTo>
                  <a:cubicBezTo>
                    <a:pt x="1327" y="193"/>
                    <a:pt x="1327" y="193"/>
                    <a:pt x="1327" y="193"/>
                  </a:cubicBezTo>
                  <a:cubicBezTo>
                    <a:pt x="1315" y="193"/>
                    <a:pt x="1293" y="193"/>
                    <a:pt x="1270" y="193"/>
                  </a:cubicBezTo>
                  <a:cubicBezTo>
                    <a:pt x="1213" y="193"/>
                    <a:pt x="1157" y="204"/>
                    <a:pt x="1111" y="227"/>
                  </a:cubicBezTo>
                  <a:cubicBezTo>
                    <a:pt x="1145" y="283"/>
                    <a:pt x="1168" y="363"/>
                    <a:pt x="1168" y="441"/>
                  </a:cubicBezTo>
                  <a:cubicBezTo>
                    <a:pt x="1168" y="736"/>
                    <a:pt x="930" y="906"/>
                    <a:pt x="612" y="906"/>
                  </a:cubicBezTo>
                  <a:close/>
                  <a:moveTo>
                    <a:pt x="454" y="1268"/>
                  </a:moveTo>
                  <a:lnTo>
                    <a:pt x="454" y="1268"/>
                  </a:lnTo>
                  <a:cubicBezTo>
                    <a:pt x="284" y="1314"/>
                    <a:pt x="181" y="1393"/>
                    <a:pt x="181" y="1518"/>
                  </a:cubicBezTo>
                  <a:cubicBezTo>
                    <a:pt x="181" y="1654"/>
                    <a:pt x="329" y="1722"/>
                    <a:pt x="578" y="1722"/>
                  </a:cubicBezTo>
                  <a:cubicBezTo>
                    <a:pt x="884" y="1722"/>
                    <a:pt x="1088" y="1620"/>
                    <a:pt x="1088" y="1450"/>
                  </a:cubicBezTo>
                  <a:cubicBezTo>
                    <a:pt x="1088" y="1325"/>
                    <a:pt x="986" y="1268"/>
                    <a:pt x="794" y="1268"/>
                  </a:cubicBezTo>
                  <a:lnTo>
                    <a:pt x="454" y="1268"/>
                  </a:lnTo>
                  <a:close/>
                  <a:moveTo>
                    <a:pt x="635" y="770"/>
                  </a:moveTo>
                  <a:lnTo>
                    <a:pt x="635" y="770"/>
                  </a:lnTo>
                  <a:cubicBezTo>
                    <a:pt x="839" y="770"/>
                    <a:pt x="998" y="668"/>
                    <a:pt x="998" y="452"/>
                  </a:cubicBezTo>
                  <a:cubicBezTo>
                    <a:pt x="998" y="227"/>
                    <a:pt x="839" y="136"/>
                    <a:pt x="635" y="136"/>
                  </a:cubicBezTo>
                  <a:cubicBezTo>
                    <a:pt x="420" y="136"/>
                    <a:pt x="261" y="238"/>
                    <a:pt x="261" y="452"/>
                  </a:cubicBezTo>
                  <a:cubicBezTo>
                    <a:pt x="261" y="679"/>
                    <a:pt x="431" y="770"/>
                    <a:pt x="635" y="77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4" name="Freeform 9"/>
            <p:cNvSpPr>
              <a:spLocks noChangeArrowheads="1"/>
            </p:cNvSpPr>
            <p:nvPr/>
          </p:nvSpPr>
          <p:spPr bwMode="auto">
            <a:xfrm>
              <a:off x="3930650" y="3425825"/>
              <a:ext cx="481013" cy="665163"/>
            </a:xfrm>
            <a:custGeom>
              <a:avLst/>
              <a:gdLst>
                <a:gd name="T0" fmla="*/ 1167 w 1338"/>
                <a:gd name="T1" fmla="*/ 1609 h 1848"/>
                <a:gd name="T2" fmla="*/ 1167 w 1338"/>
                <a:gd name="T3" fmla="*/ 1609 h 1848"/>
                <a:gd name="T4" fmla="*/ 1167 w 1338"/>
                <a:gd name="T5" fmla="*/ 1042 h 1848"/>
                <a:gd name="T6" fmla="*/ 759 w 1338"/>
                <a:gd name="T7" fmla="*/ 1042 h 1848"/>
                <a:gd name="T8" fmla="*/ 759 w 1338"/>
                <a:gd name="T9" fmla="*/ 885 h 1848"/>
                <a:gd name="T10" fmla="*/ 1337 w 1338"/>
                <a:gd name="T11" fmla="*/ 885 h 1848"/>
                <a:gd name="T12" fmla="*/ 1337 w 1338"/>
                <a:gd name="T13" fmla="*/ 1689 h 1848"/>
                <a:gd name="T14" fmla="*/ 771 w 1338"/>
                <a:gd name="T15" fmla="*/ 1847 h 1848"/>
                <a:gd name="T16" fmla="*/ 0 w 1338"/>
                <a:gd name="T17" fmla="*/ 941 h 1848"/>
                <a:gd name="T18" fmla="*/ 793 w 1338"/>
                <a:gd name="T19" fmla="*/ 0 h 1848"/>
                <a:gd name="T20" fmla="*/ 1337 w 1338"/>
                <a:gd name="T21" fmla="*/ 182 h 1848"/>
                <a:gd name="T22" fmla="*/ 1281 w 1338"/>
                <a:gd name="T23" fmla="*/ 352 h 1848"/>
                <a:gd name="T24" fmla="*/ 782 w 1338"/>
                <a:gd name="T25" fmla="*/ 159 h 1848"/>
                <a:gd name="T26" fmla="*/ 170 w 1338"/>
                <a:gd name="T27" fmla="*/ 930 h 1848"/>
                <a:gd name="T28" fmla="*/ 793 w 1338"/>
                <a:gd name="T29" fmla="*/ 1700 h 1848"/>
                <a:gd name="T30" fmla="*/ 1167 w 1338"/>
                <a:gd name="T31" fmla="*/ 1609 h 1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8" h="1848">
                  <a:moveTo>
                    <a:pt x="1167" y="1609"/>
                  </a:moveTo>
                  <a:lnTo>
                    <a:pt x="1167" y="1609"/>
                  </a:lnTo>
                  <a:cubicBezTo>
                    <a:pt x="1167" y="1042"/>
                    <a:pt x="1167" y="1042"/>
                    <a:pt x="1167" y="1042"/>
                  </a:cubicBezTo>
                  <a:cubicBezTo>
                    <a:pt x="759" y="1042"/>
                    <a:pt x="759" y="1042"/>
                    <a:pt x="759" y="1042"/>
                  </a:cubicBezTo>
                  <a:cubicBezTo>
                    <a:pt x="759" y="885"/>
                    <a:pt x="759" y="885"/>
                    <a:pt x="759" y="885"/>
                  </a:cubicBezTo>
                  <a:cubicBezTo>
                    <a:pt x="1337" y="885"/>
                    <a:pt x="1337" y="885"/>
                    <a:pt x="1337" y="885"/>
                  </a:cubicBezTo>
                  <a:cubicBezTo>
                    <a:pt x="1337" y="1689"/>
                    <a:pt x="1337" y="1689"/>
                    <a:pt x="1337" y="1689"/>
                  </a:cubicBezTo>
                  <a:cubicBezTo>
                    <a:pt x="1179" y="1790"/>
                    <a:pt x="997" y="1847"/>
                    <a:pt x="771" y="1847"/>
                  </a:cubicBezTo>
                  <a:cubicBezTo>
                    <a:pt x="306" y="1847"/>
                    <a:pt x="0" y="1552"/>
                    <a:pt x="0" y="941"/>
                  </a:cubicBezTo>
                  <a:cubicBezTo>
                    <a:pt x="0" y="318"/>
                    <a:pt x="328" y="0"/>
                    <a:pt x="793" y="0"/>
                  </a:cubicBezTo>
                  <a:cubicBezTo>
                    <a:pt x="1020" y="0"/>
                    <a:pt x="1190" y="69"/>
                    <a:pt x="1337" y="182"/>
                  </a:cubicBezTo>
                  <a:cubicBezTo>
                    <a:pt x="1281" y="352"/>
                    <a:pt x="1281" y="352"/>
                    <a:pt x="1281" y="352"/>
                  </a:cubicBezTo>
                  <a:cubicBezTo>
                    <a:pt x="1122" y="227"/>
                    <a:pt x="975" y="159"/>
                    <a:pt x="782" y="159"/>
                  </a:cubicBezTo>
                  <a:cubicBezTo>
                    <a:pt x="419" y="159"/>
                    <a:pt x="170" y="408"/>
                    <a:pt x="170" y="930"/>
                  </a:cubicBezTo>
                  <a:cubicBezTo>
                    <a:pt x="170" y="1462"/>
                    <a:pt x="419" y="1700"/>
                    <a:pt x="793" y="1700"/>
                  </a:cubicBezTo>
                  <a:cubicBezTo>
                    <a:pt x="929" y="1700"/>
                    <a:pt x="1054" y="1666"/>
                    <a:pt x="1167" y="1609"/>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5" name="Freeform 10"/>
            <p:cNvSpPr>
              <a:spLocks noChangeArrowheads="1"/>
            </p:cNvSpPr>
            <p:nvPr/>
          </p:nvSpPr>
          <p:spPr bwMode="auto">
            <a:xfrm>
              <a:off x="4551363" y="3614738"/>
              <a:ext cx="407987" cy="477837"/>
            </a:xfrm>
            <a:custGeom>
              <a:avLst/>
              <a:gdLst>
                <a:gd name="T0" fmla="*/ 555 w 1134"/>
                <a:gd name="T1" fmla="*/ 1325 h 1326"/>
                <a:gd name="T2" fmla="*/ 555 w 1134"/>
                <a:gd name="T3" fmla="*/ 1325 h 1326"/>
                <a:gd name="T4" fmla="*/ 0 w 1134"/>
                <a:gd name="T5" fmla="*/ 668 h 1326"/>
                <a:gd name="T6" fmla="*/ 567 w 1134"/>
                <a:gd name="T7" fmla="*/ 0 h 1326"/>
                <a:gd name="T8" fmla="*/ 1133 w 1134"/>
                <a:gd name="T9" fmla="*/ 656 h 1326"/>
                <a:gd name="T10" fmla="*/ 555 w 1134"/>
                <a:gd name="T11" fmla="*/ 1325 h 1326"/>
                <a:gd name="T12" fmla="*/ 567 w 1134"/>
                <a:gd name="T13" fmla="*/ 1189 h 1326"/>
                <a:gd name="T14" fmla="*/ 567 w 1134"/>
                <a:gd name="T15" fmla="*/ 1189 h 1326"/>
                <a:gd name="T16" fmla="*/ 963 w 1134"/>
                <a:gd name="T17" fmla="*/ 668 h 1326"/>
                <a:gd name="T18" fmla="*/ 567 w 1134"/>
                <a:gd name="T19" fmla="*/ 147 h 1326"/>
                <a:gd name="T20" fmla="*/ 170 w 1134"/>
                <a:gd name="T21" fmla="*/ 668 h 1326"/>
                <a:gd name="T22" fmla="*/ 567 w 1134"/>
                <a:gd name="T23" fmla="*/ 1189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4" h="1326">
                  <a:moveTo>
                    <a:pt x="555" y="1325"/>
                  </a:moveTo>
                  <a:lnTo>
                    <a:pt x="555" y="1325"/>
                  </a:lnTo>
                  <a:cubicBezTo>
                    <a:pt x="249" y="1325"/>
                    <a:pt x="0" y="1121"/>
                    <a:pt x="0" y="668"/>
                  </a:cubicBezTo>
                  <a:cubicBezTo>
                    <a:pt x="0" y="204"/>
                    <a:pt x="261" y="0"/>
                    <a:pt x="567" y="0"/>
                  </a:cubicBezTo>
                  <a:cubicBezTo>
                    <a:pt x="873" y="0"/>
                    <a:pt x="1133" y="204"/>
                    <a:pt x="1133" y="656"/>
                  </a:cubicBezTo>
                  <a:cubicBezTo>
                    <a:pt x="1133" y="1121"/>
                    <a:pt x="873" y="1325"/>
                    <a:pt x="555" y="1325"/>
                  </a:cubicBezTo>
                  <a:close/>
                  <a:moveTo>
                    <a:pt x="567" y="1189"/>
                  </a:moveTo>
                  <a:lnTo>
                    <a:pt x="567" y="1189"/>
                  </a:lnTo>
                  <a:cubicBezTo>
                    <a:pt x="782" y="1189"/>
                    <a:pt x="963" y="1030"/>
                    <a:pt x="963" y="668"/>
                  </a:cubicBezTo>
                  <a:cubicBezTo>
                    <a:pt x="963" y="295"/>
                    <a:pt x="782" y="147"/>
                    <a:pt x="567" y="147"/>
                  </a:cubicBezTo>
                  <a:cubicBezTo>
                    <a:pt x="340" y="147"/>
                    <a:pt x="170" y="295"/>
                    <a:pt x="170" y="668"/>
                  </a:cubicBezTo>
                  <a:cubicBezTo>
                    <a:pt x="170" y="1030"/>
                    <a:pt x="340" y="1189"/>
                    <a:pt x="567" y="1189"/>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6" name="Freeform 11"/>
            <p:cNvSpPr>
              <a:spLocks noChangeArrowheads="1"/>
            </p:cNvSpPr>
            <p:nvPr/>
          </p:nvSpPr>
          <p:spPr bwMode="auto">
            <a:xfrm>
              <a:off x="5048250" y="3471863"/>
              <a:ext cx="277813" cy="615950"/>
            </a:xfrm>
            <a:custGeom>
              <a:avLst/>
              <a:gdLst>
                <a:gd name="T0" fmla="*/ 0 w 771"/>
                <a:gd name="T1" fmla="*/ 431 h 1712"/>
                <a:gd name="T2" fmla="*/ 0 w 771"/>
                <a:gd name="T3" fmla="*/ 431 h 1712"/>
                <a:gd name="T4" fmla="*/ 259 w 771"/>
                <a:gd name="T5" fmla="*/ 431 h 1712"/>
                <a:gd name="T6" fmla="*/ 259 w 771"/>
                <a:gd name="T7" fmla="*/ 0 h 1712"/>
                <a:gd name="T8" fmla="*/ 429 w 771"/>
                <a:gd name="T9" fmla="*/ 0 h 1712"/>
                <a:gd name="T10" fmla="*/ 429 w 771"/>
                <a:gd name="T11" fmla="*/ 431 h 1712"/>
                <a:gd name="T12" fmla="*/ 770 w 771"/>
                <a:gd name="T13" fmla="*/ 431 h 1712"/>
                <a:gd name="T14" fmla="*/ 770 w 771"/>
                <a:gd name="T15" fmla="*/ 578 h 1712"/>
                <a:gd name="T16" fmla="*/ 429 w 771"/>
                <a:gd name="T17" fmla="*/ 578 h 1712"/>
                <a:gd name="T18" fmla="*/ 429 w 771"/>
                <a:gd name="T19" fmla="*/ 1348 h 1712"/>
                <a:gd name="T20" fmla="*/ 588 w 771"/>
                <a:gd name="T21" fmla="*/ 1564 h 1712"/>
                <a:gd name="T22" fmla="*/ 770 w 771"/>
                <a:gd name="T23" fmla="*/ 1529 h 1712"/>
                <a:gd name="T24" fmla="*/ 770 w 771"/>
                <a:gd name="T25" fmla="*/ 1688 h 1712"/>
                <a:gd name="T26" fmla="*/ 554 w 771"/>
                <a:gd name="T27" fmla="*/ 1711 h 1712"/>
                <a:gd name="T28" fmla="*/ 259 w 771"/>
                <a:gd name="T29" fmla="*/ 1371 h 1712"/>
                <a:gd name="T30" fmla="*/ 259 w 771"/>
                <a:gd name="T31" fmla="*/ 578 h 1712"/>
                <a:gd name="T32" fmla="*/ 0 w 771"/>
                <a:gd name="T33" fmla="*/ 578 h 1712"/>
                <a:gd name="T34" fmla="*/ 0 w 771"/>
                <a:gd name="T35" fmla="*/ 431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1" h="1712">
                  <a:moveTo>
                    <a:pt x="0" y="431"/>
                  </a:moveTo>
                  <a:lnTo>
                    <a:pt x="0" y="431"/>
                  </a:lnTo>
                  <a:cubicBezTo>
                    <a:pt x="259" y="431"/>
                    <a:pt x="259" y="431"/>
                    <a:pt x="259" y="431"/>
                  </a:cubicBezTo>
                  <a:cubicBezTo>
                    <a:pt x="259" y="0"/>
                    <a:pt x="259" y="0"/>
                    <a:pt x="259" y="0"/>
                  </a:cubicBezTo>
                  <a:cubicBezTo>
                    <a:pt x="429" y="0"/>
                    <a:pt x="429" y="0"/>
                    <a:pt x="429" y="0"/>
                  </a:cubicBezTo>
                  <a:cubicBezTo>
                    <a:pt x="429" y="431"/>
                    <a:pt x="429" y="431"/>
                    <a:pt x="429" y="431"/>
                  </a:cubicBezTo>
                  <a:cubicBezTo>
                    <a:pt x="770" y="431"/>
                    <a:pt x="770" y="431"/>
                    <a:pt x="770" y="431"/>
                  </a:cubicBezTo>
                  <a:cubicBezTo>
                    <a:pt x="770" y="578"/>
                    <a:pt x="770" y="578"/>
                    <a:pt x="770" y="578"/>
                  </a:cubicBezTo>
                  <a:cubicBezTo>
                    <a:pt x="429" y="578"/>
                    <a:pt x="429" y="578"/>
                    <a:pt x="429" y="578"/>
                  </a:cubicBezTo>
                  <a:cubicBezTo>
                    <a:pt x="429" y="1348"/>
                    <a:pt x="429" y="1348"/>
                    <a:pt x="429" y="1348"/>
                  </a:cubicBezTo>
                  <a:cubicBezTo>
                    <a:pt x="429" y="1518"/>
                    <a:pt x="464" y="1564"/>
                    <a:pt x="588" y="1564"/>
                  </a:cubicBezTo>
                  <a:cubicBezTo>
                    <a:pt x="656" y="1564"/>
                    <a:pt x="713" y="1552"/>
                    <a:pt x="770" y="1529"/>
                  </a:cubicBezTo>
                  <a:cubicBezTo>
                    <a:pt x="770" y="1688"/>
                    <a:pt x="770" y="1688"/>
                    <a:pt x="770" y="1688"/>
                  </a:cubicBezTo>
                  <a:cubicBezTo>
                    <a:pt x="713" y="1700"/>
                    <a:pt x="645" y="1711"/>
                    <a:pt x="554" y="1711"/>
                  </a:cubicBezTo>
                  <a:cubicBezTo>
                    <a:pt x="339" y="1711"/>
                    <a:pt x="259" y="1631"/>
                    <a:pt x="259" y="1371"/>
                  </a:cubicBezTo>
                  <a:cubicBezTo>
                    <a:pt x="259" y="578"/>
                    <a:pt x="259" y="578"/>
                    <a:pt x="259" y="578"/>
                  </a:cubicBezTo>
                  <a:cubicBezTo>
                    <a:pt x="0" y="578"/>
                    <a:pt x="0" y="578"/>
                    <a:pt x="0" y="578"/>
                  </a:cubicBezTo>
                  <a:lnTo>
                    <a:pt x="0" y="431"/>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7" name="Freeform 12"/>
            <p:cNvSpPr>
              <a:spLocks noChangeArrowheads="1"/>
            </p:cNvSpPr>
            <p:nvPr/>
          </p:nvSpPr>
          <p:spPr bwMode="auto">
            <a:xfrm>
              <a:off x="5407025" y="3471863"/>
              <a:ext cx="277813" cy="615950"/>
            </a:xfrm>
            <a:custGeom>
              <a:avLst/>
              <a:gdLst>
                <a:gd name="T0" fmla="*/ 0 w 772"/>
                <a:gd name="T1" fmla="*/ 431 h 1712"/>
                <a:gd name="T2" fmla="*/ 0 w 772"/>
                <a:gd name="T3" fmla="*/ 431 h 1712"/>
                <a:gd name="T4" fmla="*/ 261 w 772"/>
                <a:gd name="T5" fmla="*/ 431 h 1712"/>
                <a:gd name="T6" fmla="*/ 261 w 772"/>
                <a:gd name="T7" fmla="*/ 0 h 1712"/>
                <a:gd name="T8" fmla="*/ 431 w 772"/>
                <a:gd name="T9" fmla="*/ 0 h 1712"/>
                <a:gd name="T10" fmla="*/ 431 w 772"/>
                <a:gd name="T11" fmla="*/ 431 h 1712"/>
                <a:gd name="T12" fmla="*/ 771 w 772"/>
                <a:gd name="T13" fmla="*/ 431 h 1712"/>
                <a:gd name="T14" fmla="*/ 771 w 772"/>
                <a:gd name="T15" fmla="*/ 578 h 1712"/>
                <a:gd name="T16" fmla="*/ 431 w 772"/>
                <a:gd name="T17" fmla="*/ 578 h 1712"/>
                <a:gd name="T18" fmla="*/ 431 w 772"/>
                <a:gd name="T19" fmla="*/ 1348 h 1712"/>
                <a:gd name="T20" fmla="*/ 590 w 772"/>
                <a:gd name="T21" fmla="*/ 1564 h 1712"/>
                <a:gd name="T22" fmla="*/ 771 w 772"/>
                <a:gd name="T23" fmla="*/ 1529 h 1712"/>
                <a:gd name="T24" fmla="*/ 771 w 772"/>
                <a:gd name="T25" fmla="*/ 1688 h 1712"/>
                <a:gd name="T26" fmla="*/ 556 w 772"/>
                <a:gd name="T27" fmla="*/ 1711 h 1712"/>
                <a:gd name="T28" fmla="*/ 261 w 772"/>
                <a:gd name="T29" fmla="*/ 1371 h 1712"/>
                <a:gd name="T30" fmla="*/ 261 w 772"/>
                <a:gd name="T31" fmla="*/ 578 h 1712"/>
                <a:gd name="T32" fmla="*/ 0 w 772"/>
                <a:gd name="T33" fmla="*/ 578 h 1712"/>
                <a:gd name="T34" fmla="*/ 0 w 772"/>
                <a:gd name="T35" fmla="*/ 431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2" h="1712">
                  <a:moveTo>
                    <a:pt x="0" y="431"/>
                  </a:moveTo>
                  <a:lnTo>
                    <a:pt x="0" y="431"/>
                  </a:lnTo>
                  <a:cubicBezTo>
                    <a:pt x="261" y="431"/>
                    <a:pt x="261" y="431"/>
                    <a:pt x="261" y="431"/>
                  </a:cubicBezTo>
                  <a:cubicBezTo>
                    <a:pt x="261" y="0"/>
                    <a:pt x="261" y="0"/>
                    <a:pt x="261" y="0"/>
                  </a:cubicBezTo>
                  <a:cubicBezTo>
                    <a:pt x="431" y="0"/>
                    <a:pt x="431" y="0"/>
                    <a:pt x="431" y="0"/>
                  </a:cubicBezTo>
                  <a:cubicBezTo>
                    <a:pt x="431" y="431"/>
                    <a:pt x="431" y="431"/>
                    <a:pt x="431" y="431"/>
                  </a:cubicBezTo>
                  <a:cubicBezTo>
                    <a:pt x="771" y="431"/>
                    <a:pt x="771" y="431"/>
                    <a:pt x="771" y="431"/>
                  </a:cubicBezTo>
                  <a:cubicBezTo>
                    <a:pt x="771" y="578"/>
                    <a:pt x="771" y="578"/>
                    <a:pt x="771" y="578"/>
                  </a:cubicBezTo>
                  <a:cubicBezTo>
                    <a:pt x="431" y="578"/>
                    <a:pt x="431" y="578"/>
                    <a:pt x="431" y="578"/>
                  </a:cubicBezTo>
                  <a:cubicBezTo>
                    <a:pt x="431" y="1348"/>
                    <a:pt x="431" y="1348"/>
                    <a:pt x="431" y="1348"/>
                  </a:cubicBezTo>
                  <a:cubicBezTo>
                    <a:pt x="431" y="1518"/>
                    <a:pt x="465" y="1564"/>
                    <a:pt x="590" y="1564"/>
                  </a:cubicBezTo>
                  <a:cubicBezTo>
                    <a:pt x="658" y="1564"/>
                    <a:pt x="714" y="1552"/>
                    <a:pt x="771" y="1529"/>
                  </a:cubicBezTo>
                  <a:cubicBezTo>
                    <a:pt x="771" y="1688"/>
                    <a:pt x="771" y="1688"/>
                    <a:pt x="771" y="1688"/>
                  </a:cubicBezTo>
                  <a:cubicBezTo>
                    <a:pt x="714" y="1700"/>
                    <a:pt x="647" y="1711"/>
                    <a:pt x="556" y="1711"/>
                  </a:cubicBezTo>
                  <a:cubicBezTo>
                    <a:pt x="340" y="1711"/>
                    <a:pt x="261" y="1631"/>
                    <a:pt x="261" y="1371"/>
                  </a:cubicBezTo>
                  <a:cubicBezTo>
                    <a:pt x="261" y="578"/>
                    <a:pt x="261" y="578"/>
                    <a:pt x="261" y="578"/>
                  </a:cubicBezTo>
                  <a:cubicBezTo>
                    <a:pt x="0" y="578"/>
                    <a:pt x="0" y="578"/>
                    <a:pt x="0" y="578"/>
                  </a:cubicBezTo>
                  <a:lnTo>
                    <a:pt x="0" y="431"/>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8" name="Freeform 13"/>
            <p:cNvSpPr>
              <a:spLocks noChangeArrowheads="1"/>
            </p:cNvSpPr>
            <p:nvPr/>
          </p:nvSpPr>
          <p:spPr bwMode="auto">
            <a:xfrm>
              <a:off x="5819775" y="3433763"/>
              <a:ext cx="65088" cy="649287"/>
            </a:xfrm>
            <a:custGeom>
              <a:avLst/>
              <a:gdLst>
                <a:gd name="T0" fmla="*/ 0 w 183"/>
                <a:gd name="T1" fmla="*/ 0 h 1803"/>
                <a:gd name="T2" fmla="*/ 182 w 183"/>
                <a:gd name="T3" fmla="*/ 0 h 1803"/>
                <a:gd name="T4" fmla="*/ 182 w 183"/>
                <a:gd name="T5" fmla="*/ 1802 h 1803"/>
                <a:gd name="T6" fmla="*/ 0 w 183"/>
                <a:gd name="T7" fmla="*/ 1802 h 1803"/>
                <a:gd name="T8" fmla="*/ 0 w 183"/>
                <a:gd name="T9" fmla="*/ 0 h 1803"/>
              </a:gdLst>
              <a:ahLst/>
              <a:cxnLst>
                <a:cxn ang="0">
                  <a:pos x="T0" y="T1"/>
                </a:cxn>
                <a:cxn ang="0">
                  <a:pos x="T2" y="T3"/>
                </a:cxn>
                <a:cxn ang="0">
                  <a:pos x="T4" y="T5"/>
                </a:cxn>
                <a:cxn ang="0">
                  <a:pos x="T6" y="T7"/>
                </a:cxn>
                <a:cxn ang="0">
                  <a:pos x="T8" y="T9"/>
                </a:cxn>
              </a:cxnLst>
              <a:rect l="0" t="0" r="r" b="b"/>
              <a:pathLst>
                <a:path w="183" h="1803">
                  <a:moveTo>
                    <a:pt x="0" y="0"/>
                  </a:moveTo>
                  <a:lnTo>
                    <a:pt x="182" y="0"/>
                  </a:lnTo>
                  <a:lnTo>
                    <a:pt x="182" y="1802"/>
                  </a:lnTo>
                  <a:lnTo>
                    <a:pt x="0" y="1802"/>
                  </a:ln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9" name="Freeform 14"/>
            <p:cNvSpPr>
              <a:spLocks noChangeArrowheads="1"/>
            </p:cNvSpPr>
            <p:nvPr/>
          </p:nvSpPr>
          <p:spPr bwMode="auto">
            <a:xfrm>
              <a:off x="6048375" y="3454400"/>
              <a:ext cx="85725" cy="628650"/>
            </a:xfrm>
            <a:custGeom>
              <a:avLst/>
              <a:gdLst>
                <a:gd name="T0" fmla="*/ 125 w 239"/>
                <a:gd name="T1" fmla="*/ 227 h 1746"/>
                <a:gd name="T2" fmla="*/ 125 w 239"/>
                <a:gd name="T3" fmla="*/ 227 h 1746"/>
                <a:gd name="T4" fmla="*/ 0 w 239"/>
                <a:gd name="T5" fmla="*/ 113 h 1746"/>
                <a:gd name="T6" fmla="*/ 125 w 239"/>
                <a:gd name="T7" fmla="*/ 0 h 1746"/>
                <a:gd name="T8" fmla="*/ 238 w 239"/>
                <a:gd name="T9" fmla="*/ 113 h 1746"/>
                <a:gd name="T10" fmla="*/ 125 w 239"/>
                <a:gd name="T11" fmla="*/ 227 h 1746"/>
                <a:gd name="T12" fmla="*/ 34 w 239"/>
                <a:gd name="T13" fmla="*/ 476 h 1746"/>
                <a:gd name="T14" fmla="*/ 34 w 239"/>
                <a:gd name="T15" fmla="*/ 476 h 1746"/>
                <a:gd name="T16" fmla="*/ 204 w 239"/>
                <a:gd name="T17" fmla="*/ 476 h 1746"/>
                <a:gd name="T18" fmla="*/ 204 w 239"/>
                <a:gd name="T19" fmla="*/ 1745 h 1746"/>
                <a:gd name="T20" fmla="*/ 34 w 239"/>
                <a:gd name="T21" fmla="*/ 1745 h 1746"/>
                <a:gd name="T22" fmla="*/ 34 w 239"/>
                <a:gd name="T23" fmla="*/ 47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9" h="1746">
                  <a:moveTo>
                    <a:pt x="125" y="227"/>
                  </a:moveTo>
                  <a:lnTo>
                    <a:pt x="125" y="227"/>
                  </a:lnTo>
                  <a:cubicBezTo>
                    <a:pt x="57" y="227"/>
                    <a:pt x="0" y="181"/>
                    <a:pt x="0" y="113"/>
                  </a:cubicBezTo>
                  <a:cubicBezTo>
                    <a:pt x="0" y="45"/>
                    <a:pt x="57" y="0"/>
                    <a:pt x="125" y="0"/>
                  </a:cubicBezTo>
                  <a:cubicBezTo>
                    <a:pt x="193" y="0"/>
                    <a:pt x="238" y="45"/>
                    <a:pt x="238" y="113"/>
                  </a:cubicBezTo>
                  <a:cubicBezTo>
                    <a:pt x="238" y="181"/>
                    <a:pt x="193" y="227"/>
                    <a:pt x="125" y="227"/>
                  </a:cubicBezTo>
                  <a:close/>
                  <a:moveTo>
                    <a:pt x="34" y="476"/>
                  </a:moveTo>
                  <a:lnTo>
                    <a:pt x="34" y="476"/>
                  </a:lnTo>
                  <a:cubicBezTo>
                    <a:pt x="204" y="476"/>
                    <a:pt x="204" y="476"/>
                    <a:pt x="204" y="476"/>
                  </a:cubicBezTo>
                  <a:cubicBezTo>
                    <a:pt x="204" y="1745"/>
                    <a:pt x="204" y="1745"/>
                    <a:pt x="204" y="1745"/>
                  </a:cubicBezTo>
                  <a:cubicBezTo>
                    <a:pt x="34" y="1745"/>
                    <a:pt x="34" y="1745"/>
                    <a:pt x="34" y="1745"/>
                  </a:cubicBezTo>
                  <a:lnTo>
                    <a:pt x="34" y="476"/>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50" name="Freeform 15"/>
            <p:cNvSpPr>
              <a:spLocks noChangeArrowheads="1"/>
            </p:cNvSpPr>
            <p:nvPr/>
          </p:nvSpPr>
          <p:spPr bwMode="auto">
            <a:xfrm>
              <a:off x="6269038" y="3614738"/>
              <a:ext cx="387350" cy="477837"/>
            </a:xfrm>
            <a:custGeom>
              <a:avLst/>
              <a:gdLst>
                <a:gd name="T0" fmla="*/ 170 w 1078"/>
                <a:gd name="T1" fmla="*/ 702 h 1326"/>
                <a:gd name="T2" fmla="*/ 170 w 1078"/>
                <a:gd name="T3" fmla="*/ 702 h 1326"/>
                <a:gd name="T4" fmla="*/ 590 w 1078"/>
                <a:gd name="T5" fmla="*/ 1189 h 1326"/>
                <a:gd name="T6" fmla="*/ 986 w 1078"/>
                <a:gd name="T7" fmla="*/ 1053 h 1326"/>
                <a:gd name="T8" fmla="*/ 1043 w 1078"/>
                <a:gd name="T9" fmla="*/ 1200 h 1326"/>
                <a:gd name="T10" fmla="*/ 567 w 1078"/>
                <a:gd name="T11" fmla="*/ 1325 h 1326"/>
                <a:gd name="T12" fmla="*/ 0 w 1078"/>
                <a:gd name="T13" fmla="*/ 679 h 1326"/>
                <a:gd name="T14" fmla="*/ 567 w 1078"/>
                <a:gd name="T15" fmla="*/ 0 h 1326"/>
                <a:gd name="T16" fmla="*/ 1077 w 1078"/>
                <a:gd name="T17" fmla="*/ 600 h 1326"/>
                <a:gd name="T18" fmla="*/ 1066 w 1078"/>
                <a:gd name="T19" fmla="*/ 702 h 1326"/>
                <a:gd name="T20" fmla="*/ 170 w 1078"/>
                <a:gd name="T21" fmla="*/ 702 h 1326"/>
                <a:gd name="T22" fmla="*/ 170 w 1078"/>
                <a:gd name="T23" fmla="*/ 566 h 1326"/>
                <a:gd name="T24" fmla="*/ 170 w 1078"/>
                <a:gd name="T25" fmla="*/ 566 h 1326"/>
                <a:gd name="T26" fmla="*/ 907 w 1078"/>
                <a:gd name="T27" fmla="*/ 566 h 1326"/>
                <a:gd name="T28" fmla="*/ 567 w 1078"/>
                <a:gd name="T29" fmla="*/ 136 h 1326"/>
                <a:gd name="T30" fmla="*/ 170 w 1078"/>
                <a:gd name="T31" fmla="*/ 566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8" h="1326">
                  <a:moveTo>
                    <a:pt x="170" y="702"/>
                  </a:moveTo>
                  <a:lnTo>
                    <a:pt x="170" y="702"/>
                  </a:lnTo>
                  <a:cubicBezTo>
                    <a:pt x="181" y="1042"/>
                    <a:pt x="352" y="1189"/>
                    <a:pt x="590" y="1189"/>
                  </a:cubicBezTo>
                  <a:cubicBezTo>
                    <a:pt x="726" y="1189"/>
                    <a:pt x="850" y="1144"/>
                    <a:pt x="986" y="1053"/>
                  </a:cubicBezTo>
                  <a:cubicBezTo>
                    <a:pt x="1043" y="1200"/>
                    <a:pt x="1043" y="1200"/>
                    <a:pt x="1043" y="1200"/>
                  </a:cubicBezTo>
                  <a:cubicBezTo>
                    <a:pt x="907" y="1280"/>
                    <a:pt x="737" y="1325"/>
                    <a:pt x="567" y="1325"/>
                  </a:cubicBezTo>
                  <a:cubicBezTo>
                    <a:pt x="227" y="1325"/>
                    <a:pt x="0" y="1110"/>
                    <a:pt x="0" y="679"/>
                  </a:cubicBezTo>
                  <a:cubicBezTo>
                    <a:pt x="0" y="238"/>
                    <a:pt x="250" y="0"/>
                    <a:pt x="567" y="0"/>
                  </a:cubicBezTo>
                  <a:cubicBezTo>
                    <a:pt x="873" y="0"/>
                    <a:pt x="1077" y="204"/>
                    <a:pt x="1077" y="600"/>
                  </a:cubicBezTo>
                  <a:cubicBezTo>
                    <a:pt x="1077" y="645"/>
                    <a:pt x="1077" y="668"/>
                    <a:pt x="1066" y="702"/>
                  </a:cubicBezTo>
                  <a:lnTo>
                    <a:pt x="170" y="702"/>
                  </a:lnTo>
                  <a:close/>
                  <a:moveTo>
                    <a:pt x="170" y="566"/>
                  </a:moveTo>
                  <a:lnTo>
                    <a:pt x="170" y="566"/>
                  </a:lnTo>
                  <a:cubicBezTo>
                    <a:pt x="907" y="566"/>
                    <a:pt x="907" y="566"/>
                    <a:pt x="907" y="566"/>
                  </a:cubicBezTo>
                  <a:cubicBezTo>
                    <a:pt x="907" y="261"/>
                    <a:pt x="760" y="136"/>
                    <a:pt x="567" y="136"/>
                  </a:cubicBezTo>
                  <a:cubicBezTo>
                    <a:pt x="352" y="136"/>
                    <a:pt x="193" y="295"/>
                    <a:pt x="170" y="566"/>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51" name="Freeform 16"/>
            <p:cNvSpPr>
              <a:spLocks noChangeArrowheads="1"/>
            </p:cNvSpPr>
            <p:nvPr/>
          </p:nvSpPr>
          <p:spPr bwMode="auto">
            <a:xfrm>
              <a:off x="6799263" y="3433763"/>
              <a:ext cx="395287" cy="657225"/>
            </a:xfrm>
            <a:custGeom>
              <a:avLst/>
              <a:gdLst>
                <a:gd name="T0" fmla="*/ 170 w 1100"/>
                <a:gd name="T1" fmla="*/ 0 h 1825"/>
                <a:gd name="T2" fmla="*/ 170 w 1100"/>
                <a:gd name="T3" fmla="*/ 0 h 1825"/>
                <a:gd name="T4" fmla="*/ 170 w 1100"/>
                <a:gd name="T5" fmla="*/ 714 h 1825"/>
                <a:gd name="T6" fmla="*/ 601 w 1100"/>
                <a:gd name="T7" fmla="*/ 499 h 1825"/>
                <a:gd name="T8" fmla="*/ 1099 w 1100"/>
                <a:gd name="T9" fmla="*/ 1155 h 1825"/>
                <a:gd name="T10" fmla="*/ 578 w 1100"/>
                <a:gd name="T11" fmla="*/ 1824 h 1825"/>
                <a:gd name="T12" fmla="*/ 158 w 1100"/>
                <a:gd name="T13" fmla="*/ 1620 h 1825"/>
                <a:gd name="T14" fmla="*/ 158 w 1100"/>
                <a:gd name="T15" fmla="*/ 1802 h 1825"/>
                <a:gd name="T16" fmla="*/ 0 w 1100"/>
                <a:gd name="T17" fmla="*/ 1802 h 1825"/>
                <a:gd name="T18" fmla="*/ 0 w 1100"/>
                <a:gd name="T19" fmla="*/ 0 h 1825"/>
                <a:gd name="T20" fmla="*/ 170 w 1100"/>
                <a:gd name="T21" fmla="*/ 0 h 1825"/>
                <a:gd name="T22" fmla="*/ 170 w 1100"/>
                <a:gd name="T23" fmla="*/ 862 h 1825"/>
                <a:gd name="T24" fmla="*/ 170 w 1100"/>
                <a:gd name="T25" fmla="*/ 862 h 1825"/>
                <a:gd name="T26" fmla="*/ 170 w 1100"/>
                <a:gd name="T27" fmla="*/ 1484 h 1825"/>
                <a:gd name="T28" fmla="*/ 555 w 1100"/>
                <a:gd name="T29" fmla="*/ 1677 h 1825"/>
                <a:gd name="T30" fmla="*/ 929 w 1100"/>
                <a:gd name="T31" fmla="*/ 1167 h 1825"/>
                <a:gd name="T32" fmla="*/ 567 w 1100"/>
                <a:gd name="T33" fmla="*/ 646 h 1825"/>
                <a:gd name="T34" fmla="*/ 170 w 1100"/>
                <a:gd name="T35" fmla="*/ 862 h 1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0" h="1825">
                  <a:moveTo>
                    <a:pt x="170" y="0"/>
                  </a:moveTo>
                  <a:lnTo>
                    <a:pt x="170" y="0"/>
                  </a:lnTo>
                  <a:cubicBezTo>
                    <a:pt x="170" y="714"/>
                    <a:pt x="170" y="714"/>
                    <a:pt x="170" y="714"/>
                  </a:cubicBezTo>
                  <a:cubicBezTo>
                    <a:pt x="283" y="578"/>
                    <a:pt x="431" y="499"/>
                    <a:pt x="601" y="499"/>
                  </a:cubicBezTo>
                  <a:cubicBezTo>
                    <a:pt x="884" y="499"/>
                    <a:pt x="1099" y="726"/>
                    <a:pt x="1099" y="1155"/>
                  </a:cubicBezTo>
                  <a:cubicBezTo>
                    <a:pt x="1099" y="1597"/>
                    <a:pt x="873" y="1824"/>
                    <a:pt x="578" y="1824"/>
                  </a:cubicBezTo>
                  <a:cubicBezTo>
                    <a:pt x="419" y="1824"/>
                    <a:pt x="283" y="1756"/>
                    <a:pt x="158" y="1620"/>
                  </a:cubicBezTo>
                  <a:cubicBezTo>
                    <a:pt x="158" y="1802"/>
                    <a:pt x="158" y="1802"/>
                    <a:pt x="158" y="1802"/>
                  </a:cubicBezTo>
                  <a:cubicBezTo>
                    <a:pt x="0" y="1802"/>
                    <a:pt x="0" y="1802"/>
                    <a:pt x="0" y="1802"/>
                  </a:cubicBezTo>
                  <a:cubicBezTo>
                    <a:pt x="0" y="0"/>
                    <a:pt x="0" y="0"/>
                    <a:pt x="0" y="0"/>
                  </a:cubicBezTo>
                  <a:lnTo>
                    <a:pt x="170" y="0"/>
                  </a:lnTo>
                  <a:close/>
                  <a:moveTo>
                    <a:pt x="170" y="862"/>
                  </a:moveTo>
                  <a:lnTo>
                    <a:pt x="170" y="862"/>
                  </a:lnTo>
                  <a:cubicBezTo>
                    <a:pt x="170" y="1484"/>
                    <a:pt x="170" y="1484"/>
                    <a:pt x="170" y="1484"/>
                  </a:cubicBezTo>
                  <a:cubicBezTo>
                    <a:pt x="283" y="1609"/>
                    <a:pt x="408" y="1677"/>
                    <a:pt x="555" y="1677"/>
                  </a:cubicBezTo>
                  <a:cubicBezTo>
                    <a:pt x="771" y="1677"/>
                    <a:pt x="929" y="1518"/>
                    <a:pt x="929" y="1167"/>
                  </a:cubicBezTo>
                  <a:cubicBezTo>
                    <a:pt x="929" y="816"/>
                    <a:pt x="782" y="646"/>
                    <a:pt x="567" y="646"/>
                  </a:cubicBezTo>
                  <a:cubicBezTo>
                    <a:pt x="419" y="646"/>
                    <a:pt x="283" y="737"/>
                    <a:pt x="170" y="862"/>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52" name="Freeform 17"/>
            <p:cNvSpPr>
              <a:spLocks noChangeArrowheads="1"/>
            </p:cNvSpPr>
            <p:nvPr/>
          </p:nvSpPr>
          <p:spPr bwMode="auto">
            <a:xfrm>
              <a:off x="7599363" y="3157538"/>
              <a:ext cx="57150" cy="1247775"/>
            </a:xfrm>
            <a:custGeom>
              <a:avLst/>
              <a:gdLst>
                <a:gd name="T0" fmla="*/ 158 w 159"/>
                <a:gd name="T1" fmla="*/ 3467 h 3468"/>
                <a:gd name="T2" fmla="*/ 0 w 159"/>
                <a:gd name="T3" fmla="*/ 3467 h 3468"/>
                <a:gd name="T4" fmla="*/ 0 w 159"/>
                <a:gd name="T5" fmla="*/ 0 h 3468"/>
                <a:gd name="T6" fmla="*/ 158 w 159"/>
                <a:gd name="T7" fmla="*/ 0 h 3468"/>
                <a:gd name="T8" fmla="*/ 158 w 159"/>
                <a:gd name="T9" fmla="*/ 3467 h 3468"/>
              </a:gdLst>
              <a:ahLst/>
              <a:cxnLst>
                <a:cxn ang="0">
                  <a:pos x="T0" y="T1"/>
                </a:cxn>
                <a:cxn ang="0">
                  <a:pos x="T2" y="T3"/>
                </a:cxn>
                <a:cxn ang="0">
                  <a:pos x="T4" y="T5"/>
                </a:cxn>
                <a:cxn ang="0">
                  <a:pos x="T6" y="T7"/>
                </a:cxn>
                <a:cxn ang="0">
                  <a:pos x="T8" y="T9"/>
                </a:cxn>
              </a:cxnLst>
              <a:rect l="0" t="0" r="r" b="b"/>
              <a:pathLst>
                <a:path w="159" h="3468">
                  <a:moveTo>
                    <a:pt x="158" y="3467"/>
                  </a:moveTo>
                  <a:lnTo>
                    <a:pt x="0" y="3467"/>
                  </a:lnTo>
                  <a:lnTo>
                    <a:pt x="0" y="0"/>
                  </a:lnTo>
                  <a:lnTo>
                    <a:pt x="158" y="0"/>
                  </a:lnTo>
                  <a:lnTo>
                    <a:pt x="158" y="346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grpSp>
      <p:sp>
        <p:nvSpPr>
          <p:cNvPr id="53" name="Rectangle 52"/>
          <p:cNvSpPr/>
          <p:nvPr userDrawn="1"/>
        </p:nvSpPr>
        <p:spPr>
          <a:xfrm>
            <a:off x="600410" y="1315365"/>
            <a:ext cx="10977759" cy="6095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grpSp>
        <p:nvGrpSpPr>
          <p:cNvPr id="54" name="Group 9"/>
          <p:cNvGrpSpPr>
            <a:grpSpLocks/>
          </p:cNvGrpSpPr>
          <p:nvPr userDrawn="1"/>
        </p:nvGrpSpPr>
        <p:grpSpPr bwMode="auto">
          <a:xfrm>
            <a:off x="9968025" y="6523567"/>
            <a:ext cx="1610784" cy="201084"/>
            <a:chOff x="20638" y="3136900"/>
            <a:chExt cx="10080625" cy="1268413"/>
          </a:xfrm>
        </p:grpSpPr>
        <p:sp>
          <p:nvSpPr>
            <p:cNvPr id="55" name="Freeform 1"/>
            <p:cNvSpPr>
              <a:spLocks noChangeArrowheads="1"/>
            </p:cNvSpPr>
            <p:nvPr/>
          </p:nvSpPr>
          <p:spPr bwMode="auto">
            <a:xfrm>
              <a:off x="8087788" y="3136900"/>
              <a:ext cx="2013475" cy="1241710"/>
            </a:xfrm>
            <a:custGeom>
              <a:avLst/>
              <a:gdLst>
                <a:gd name="T0" fmla="*/ 4671 w 5590"/>
                <a:gd name="T1" fmla="*/ 986 h 3468"/>
                <a:gd name="T2" fmla="*/ 4671 w 5590"/>
                <a:gd name="T3" fmla="*/ 986 h 3468"/>
                <a:gd name="T4" fmla="*/ 4070 w 5590"/>
                <a:gd name="T5" fmla="*/ 986 h 3468"/>
                <a:gd name="T6" fmla="*/ 4070 w 5590"/>
                <a:gd name="T7" fmla="*/ 0 h 3468"/>
                <a:gd name="T8" fmla="*/ 3333 w 5590"/>
                <a:gd name="T9" fmla="*/ 0 h 3468"/>
                <a:gd name="T10" fmla="*/ 3038 w 5590"/>
                <a:gd name="T11" fmla="*/ 544 h 3468"/>
                <a:gd name="T12" fmla="*/ 2732 w 5590"/>
                <a:gd name="T13" fmla="*/ 0 h 3468"/>
                <a:gd name="T14" fmla="*/ 2006 w 5590"/>
                <a:gd name="T15" fmla="*/ 0 h 3468"/>
                <a:gd name="T16" fmla="*/ 2006 w 5590"/>
                <a:gd name="T17" fmla="*/ 1337 h 3468"/>
                <a:gd name="T18" fmla="*/ 1236 w 5590"/>
                <a:gd name="T19" fmla="*/ 1076 h 3468"/>
                <a:gd name="T20" fmla="*/ 352 w 5590"/>
                <a:gd name="T21" fmla="*/ 1428 h 3468"/>
                <a:gd name="T22" fmla="*/ 91 w 5590"/>
                <a:gd name="T23" fmla="*/ 1812 h 3468"/>
                <a:gd name="T24" fmla="*/ 0 w 5590"/>
                <a:gd name="T25" fmla="*/ 2277 h 3468"/>
                <a:gd name="T26" fmla="*/ 0 w 5590"/>
                <a:gd name="T27" fmla="*/ 2277 h 3468"/>
                <a:gd name="T28" fmla="*/ 352 w 5590"/>
                <a:gd name="T29" fmla="*/ 3127 h 3468"/>
                <a:gd name="T30" fmla="*/ 1236 w 5590"/>
                <a:gd name="T31" fmla="*/ 3467 h 3468"/>
                <a:gd name="T32" fmla="*/ 2108 w 5590"/>
                <a:gd name="T33" fmla="*/ 3116 h 3468"/>
                <a:gd name="T34" fmla="*/ 2369 w 5590"/>
                <a:gd name="T35" fmla="*/ 2742 h 3468"/>
                <a:gd name="T36" fmla="*/ 2460 w 5590"/>
                <a:gd name="T37" fmla="*/ 2277 h 3468"/>
                <a:gd name="T38" fmla="*/ 2460 w 5590"/>
                <a:gd name="T39" fmla="*/ 2266 h 3468"/>
                <a:gd name="T40" fmla="*/ 2369 w 5590"/>
                <a:gd name="T41" fmla="*/ 1812 h 3468"/>
                <a:gd name="T42" fmla="*/ 2641 w 5590"/>
                <a:gd name="T43" fmla="*/ 1812 h 3468"/>
                <a:gd name="T44" fmla="*/ 2641 w 5590"/>
                <a:gd name="T45" fmla="*/ 1076 h 3468"/>
                <a:gd name="T46" fmla="*/ 3038 w 5590"/>
                <a:gd name="T47" fmla="*/ 1643 h 3468"/>
                <a:gd name="T48" fmla="*/ 3423 w 5590"/>
                <a:gd name="T49" fmla="*/ 1076 h 3468"/>
                <a:gd name="T50" fmla="*/ 3423 w 5590"/>
                <a:gd name="T51" fmla="*/ 1812 h 3468"/>
                <a:gd name="T52" fmla="*/ 4070 w 5590"/>
                <a:gd name="T53" fmla="*/ 1812 h 3468"/>
                <a:gd name="T54" fmla="*/ 4070 w 5590"/>
                <a:gd name="T55" fmla="*/ 2549 h 3468"/>
                <a:gd name="T56" fmla="*/ 4648 w 5590"/>
                <a:gd name="T57" fmla="*/ 2549 h 3468"/>
                <a:gd name="T58" fmla="*/ 5589 w 5590"/>
                <a:gd name="T59" fmla="*/ 1757 h 3468"/>
                <a:gd name="T60" fmla="*/ 5589 w 5590"/>
                <a:gd name="T61" fmla="*/ 1757 h 3468"/>
                <a:gd name="T62" fmla="*/ 4671 w 5590"/>
                <a:gd name="T63" fmla="*/ 986 h 3468"/>
                <a:gd name="T64" fmla="*/ 1621 w 5590"/>
                <a:gd name="T65" fmla="*/ 2277 h 3468"/>
                <a:gd name="T66" fmla="*/ 1621 w 5590"/>
                <a:gd name="T67" fmla="*/ 2277 h 3468"/>
                <a:gd name="T68" fmla="*/ 1236 w 5590"/>
                <a:gd name="T69" fmla="*/ 2685 h 3468"/>
                <a:gd name="T70" fmla="*/ 839 w 5590"/>
                <a:gd name="T71" fmla="*/ 2277 h 3468"/>
                <a:gd name="T72" fmla="*/ 839 w 5590"/>
                <a:gd name="T73" fmla="*/ 2266 h 3468"/>
                <a:gd name="T74" fmla="*/ 1236 w 5590"/>
                <a:gd name="T75" fmla="*/ 1858 h 3468"/>
                <a:gd name="T76" fmla="*/ 1621 w 5590"/>
                <a:gd name="T77" fmla="*/ 2277 h 3468"/>
                <a:gd name="T78" fmla="*/ 4671 w 5590"/>
                <a:gd name="T79" fmla="*/ 986 h 3468"/>
                <a:gd name="T80" fmla="*/ 5033 w 5590"/>
                <a:gd name="T81" fmla="*/ 1767 h 3468"/>
                <a:gd name="T82" fmla="*/ 5033 w 5590"/>
                <a:gd name="T83" fmla="*/ 1767 h 3468"/>
                <a:gd name="T84" fmla="*/ 4693 w 5590"/>
                <a:gd name="T85" fmla="*/ 2039 h 3468"/>
                <a:gd name="T86" fmla="*/ 4625 w 5590"/>
                <a:gd name="T87" fmla="*/ 2039 h 3468"/>
                <a:gd name="T88" fmla="*/ 4625 w 5590"/>
                <a:gd name="T89" fmla="*/ 1484 h 3468"/>
                <a:gd name="T90" fmla="*/ 4693 w 5590"/>
                <a:gd name="T91" fmla="*/ 1484 h 3468"/>
                <a:gd name="T92" fmla="*/ 5033 w 5590"/>
                <a:gd name="T93" fmla="*/ 1767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0" h="3468">
                  <a:moveTo>
                    <a:pt x="4671" y="986"/>
                  </a:moveTo>
                  <a:lnTo>
                    <a:pt x="4671" y="986"/>
                  </a:lnTo>
                  <a:cubicBezTo>
                    <a:pt x="4070" y="986"/>
                    <a:pt x="4070" y="986"/>
                    <a:pt x="4070" y="986"/>
                  </a:cubicBezTo>
                  <a:cubicBezTo>
                    <a:pt x="4070" y="0"/>
                    <a:pt x="4070" y="0"/>
                    <a:pt x="4070" y="0"/>
                  </a:cubicBezTo>
                  <a:cubicBezTo>
                    <a:pt x="3333" y="0"/>
                    <a:pt x="3333" y="0"/>
                    <a:pt x="3333" y="0"/>
                  </a:cubicBezTo>
                  <a:cubicBezTo>
                    <a:pt x="3038" y="544"/>
                    <a:pt x="3038" y="544"/>
                    <a:pt x="3038" y="544"/>
                  </a:cubicBezTo>
                  <a:cubicBezTo>
                    <a:pt x="2732" y="0"/>
                    <a:pt x="2732" y="0"/>
                    <a:pt x="2732" y="0"/>
                  </a:cubicBezTo>
                  <a:cubicBezTo>
                    <a:pt x="2006" y="0"/>
                    <a:pt x="2006" y="0"/>
                    <a:pt x="2006" y="0"/>
                  </a:cubicBezTo>
                  <a:cubicBezTo>
                    <a:pt x="2006" y="1337"/>
                    <a:pt x="2006" y="1337"/>
                    <a:pt x="2006" y="1337"/>
                  </a:cubicBezTo>
                  <a:cubicBezTo>
                    <a:pt x="1791" y="1167"/>
                    <a:pt x="1519" y="1076"/>
                    <a:pt x="1236" y="1076"/>
                  </a:cubicBezTo>
                  <a:cubicBezTo>
                    <a:pt x="896" y="1076"/>
                    <a:pt x="590" y="1201"/>
                    <a:pt x="352" y="1428"/>
                  </a:cubicBezTo>
                  <a:cubicBezTo>
                    <a:pt x="238" y="1541"/>
                    <a:pt x="159" y="1666"/>
                    <a:pt x="91" y="1812"/>
                  </a:cubicBezTo>
                  <a:cubicBezTo>
                    <a:pt x="34" y="1960"/>
                    <a:pt x="0" y="2107"/>
                    <a:pt x="0" y="2277"/>
                  </a:cubicBezTo>
                  <a:lnTo>
                    <a:pt x="0" y="2277"/>
                  </a:lnTo>
                  <a:cubicBezTo>
                    <a:pt x="0" y="2606"/>
                    <a:pt x="125" y="2901"/>
                    <a:pt x="352" y="3127"/>
                  </a:cubicBezTo>
                  <a:cubicBezTo>
                    <a:pt x="578" y="3342"/>
                    <a:pt x="896" y="3467"/>
                    <a:pt x="1236" y="3467"/>
                  </a:cubicBezTo>
                  <a:cubicBezTo>
                    <a:pt x="1564" y="3467"/>
                    <a:pt x="1882" y="3342"/>
                    <a:pt x="2108" y="3116"/>
                  </a:cubicBezTo>
                  <a:cubicBezTo>
                    <a:pt x="2222" y="3014"/>
                    <a:pt x="2313" y="2878"/>
                    <a:pt x="2369" y="2742"/>
                  </a:cubicBezTo>
                  <a:cubicBezTo>
                    <a:pt x="2426" y="2594"/>
                    <a:pt x="2460" y="2436"/>
                    <a:pt x="2460" y="2277"/>
                  </a:cubicBezTo>
                  <a:cubicBezTo>
                    <a:pt x="2460" y="2266"/>
                    <a:pt x="2460" y="2266"/>
                    <a:pt x="2460" y="2266"/>
                  </a:cubicBezTo>
                  <a:cubicBezTo>
                    <a:pt x="2460" y="2107"/>
                    <a:pt x="2437" y="1960"/>
                    <a:pt x="2369" y="1812"/>
                  </a:cubicBezTo>
                  <a:cubicBezTo>
                    <a:pt x="2641" y="1812"/>
                    <a:pt x="2641" y="1812"/>
                    <a:pt x="2641" y="1812"/>
                  </a:cubicBezTo>
                  <a:cubicBezTo>
                    <a:pt x="2641" y="1076"/>
                    <a:pt x="2641" y="1076"/>
                    <a:pt x="2641" y="1076"/>
                  </a:cubicBezTo>
                  <a:cubicBezTo>
                    <a:pt x="3038" y="1643"/>
                    <a:pt x="3038" y="1643"/>
                    <a:pt x="3038" y="1643"/>
                  </a:cubicBezTo>
                  <a:cubicBezTo>
                    <a:pt x="3423" y="1076"/>
                    <a:pt x="3423" y="1076"/>
                    <a:pt x="3423" y="1076"/>
                  </a:cubicBezTo>
                  <a:cubicBezTo>
                    <a:pt x="3423" y="1812"/>
                    <a:pt x="3423" y="1812"/>
                    <a:pt x="3423" y="1812"/>
                  </a:cubicBezTo>
                  <a:cubicBezTo>
                    <a:pt x="4070" y="1812"/>
                    <a:pt x="4070" y="1812"/>
                    <a:pt x="4070" y="1812"/>
                  </a:cubicBezTo>
                  <a:cubicBezTo>
                    <a:pt x="4070" y="2549"/>
                    <a:pt x="4070" y="2549"/>
                    <a:pt x="4070" y="2549"/>
                  </a:cubicBezTo>
                  <a:cubicBezTo>
                    <a:pt x="4648" y="2549"/>
                    <a:pt x="4648" y="2549"/>
                    <a:pt x="4648" y="2549"/>
                  </a:cubicBezTo>
                  <a:cubicBezTo>
                    <a:pt x="5282" y="2549"/>
                    <a:pt x="5589" y="2209"/>
                    <a:pt x="5589" y="1757"/>
                  </a:cubicBezTo>
                  <a:lnTo>
                    <a:pt x="5589" y="1757"/>
                  </a:lnTo>
                  <a:cubicBezTo>
                    <a:pt x="5589" y="1360"/>
                    <a:pt x="5294" y="986"/>
                    <a:pt x="4671" y="986"/>
                  </a:cubicBezTo>
                  <a:lnTo>
                    <a:pt x="1621" y="2277"/>
                  </a:lnTo>
                  <a:lnTo>
                    <a:pt x="1621" y="2277"/>
                  </a:lnTo>
                  <a:cubicBezTo>
                    <a:pt x="1621" y="2493"/>
                    <a:pt x="1485" y="2685"/>
                    <a:pt x="1236" y="2685"/>
                  </a:cubicBezTo>
                  <a:cubicBezTo>
                    <a:pt x="975" y="2685"/>
                    <a:pt x="839" y="2493"/>
                    <a:pt x="839" y="2277"/>
                  </a:cubicBezTo>
                  <a:cubicBezTo>
                    <a:pt x="839" y="2266"/>
                    <a:pt x="839" y="2266"/>
                    <a:pt x="839" y="2266"/>
                  </a:cubicBezTo>
                  <a:cubicBezTo>
                    <a:pt x="839" y="2062"/>
                    <a:pt x="975" y="1858"/>
                    <a:pt x="1236" y="1858"/>
                  </a:cubicBezTo>
                  <a:cubicBezTo>
                    <a:pt x="1485" y="1858"/>
                    <a:pt x="1621" y="2062"/>
                    <a:pt x="1621" y="2277"/>
                  </a:cubicBezTo>
                  <a:lnTo>
                    <a:pt x="4671" y="986"/>
                  </a:lnTo>
                  <a:close/>
                  <a:moveTo>
                    <a:pt x="5033" y="1767"/>
                  </a:moveTo>
                  <a:lnTo>
                    <a:pt x="5033" y="1767"/>
                  </a:lnTo>
                  <a:cubicBezTo>
                    <a:pt x="5033" y="1960"/>
                    <a:pt x="4897" y="2039"/>
                    <a:pt x="4693" y="2039"/>
                  </a:cubicBezTo>
                  <a:cubicBezTo>
                    <a:pt x="4625" y="2039"/>
                    <a:pt x="4625" y="2039"/>
                    <a:pt x="4625" y="2039"/>
                  </a:cubicBezTo>
                  <a:cubicBezTo>
                    <a:pt x="4625" y="1484"/>
                    <a:pt x="4625" y="1484"/>
                    <a:pt x="4625" y="1484"/>
                  </a:cubicBezTo>
                  <a:cubicBezTo>
                    <a:pt x="4693" y="1484"/>
                    <a:pt x="4693" y="1484"/>
                    <a:pt x="4693" y="1484"/>
                  </a:cubicBezTo>
                  <a:cubicBezTo>
                    <a:pt x="4897" y="1484"/>
                    <a:pt x="5033" y="1575"/>
                    <a:pt x="5033" y="1767"/>
                  </a:cubicBezTo>
                  <a:close/>
                </a:path>
              </a:pathLst>
            </a:custGeom>
            <a:solidFill>
              <a:srgbClr val="EE3124"/>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56" name="Freeform 2"/>
            <p:cNvSpPr>
              <a:spLocks noChangeArrowheads="1"/>
            </p:cNvSpPr>
            <p:nvPr/>
          </p:nvSpPr>
          <p:spPr bwMode="auto">
            <a:xfrm>
              <a:off x="20638" y="3430637"/>
              <a:ext cx="675578" cy="654236"/>
            </a:xfrm>
            <a:custGeom>
              <a:avLst/>
              <a:gdLst>
                <a:gd name="T0" fmla="*/ 1746 w 1883"/>
                <a:gd name="T1" fmla="*/ 0 h 1803"/>
                <a:gd name="T2" fmla="*/ 1746 w 1883"/>
                <a:gd name="T3" fmla="*/ 0 h 1803"/>
                <a:gd name="T4" fmla="*/ 1882 w 1883"/>
                <a:gd name="T5" fmla="*/ 1802 h 1803"/>
                <a:gd name="T6" fmla="*/ 1700 w 1883"/>
                <a:gd name="T7" fmla="*/ 1802 h 1803"/>
                <a:gd name="T8" fmla="*/ 1621 w 1883"/>
                <a:gd name="T9" fmla="*/ 680 h 1803"/>
                <a:gd name="T10" fmla="*/ 1598 w 1883"/>
                <a:gd name="T11" fmla="*/ 193 h 1803"/>
                <a:gd name="T12" fmla="*/ 1598 w 1883"/>
                <a:gd name="T13" fmla="*/ 193 h 1803"/>
                <a:gd name="T14" fmla="*/ 1451 w 1883"/>
                <a:gd name="T15" fmla="*/ 657 h 1803"/>
                <a:gd name="T16" fmla="*/ 1020 w 1883"/>
                <a:gd name="T17" fmla="*/ 1802 h 1803"/>
                <a:gd name="T18" fmla="*/ 862 w 1883"/>
                <a:gd name="T19" fmla="*/ 1802 h 1803"/>
                <a:gd name="T20" fmla="*/ 442 w 1883"/>
                <a:gd name="T21" fmla="*/ 657 h 1803"/>
                <a:gd name="T22" fmla="*/ 283 w 1883"/>
                <a:gd name="T23" fmla="*/ 193 h 1803"/>
                <a:gd name="T24" fmla="*/ 283 w 1883"/>
                <a:gd name="T25" fmla="*/ 193 h 1803"/>
                <a:gd name="T26" fmla="*/ 260 w 1883"/>
                <a:gd name="T27" fmla="*/ 657 h 1803"/>
                <a:gd name="T28" fmla="*/ 181 w 1883"/>
                <a:gd name="T29" fmla="*/ 1802 h 1803"/>
                <a:gd name="T30" fmla="*/ 0 w 1883"/>
                <a:gd name="T31" fmla="*/ 1802 h 1803"/>
                <a:gd name="T32" fmla="*/ 147 w 1883"/>
                <a:gd name="T33" fmla="*/ 0 h 1803"/>
                <a:gd name="T34" fmla="*/ 385 w 1883"/>
                <a:gd name="T35" fmla="*/ 0 h 1803"/>
                <a:gd name="T36" fmla="*/ 793 w 1883"/>
                <a:gd name="T37" fmla="*/ 1121 h 1803"/>
                <a:gd name="T38" fmla="*/ 941 w 1883"/>
                <a:gd name="T39" fmla="*/ 1575 h 1803"/>
                <a:gd name="T40" fmla="*/ 941 w 1883"/>
                <a:gd name="T41" fmla="*/ 1575 h 1803"/>
                <a:gd name="T42" fmla="*/ 1099 w 1883"/>
                <a:gd name="T43" fmla="*/ 1133 h 1803"/>
                <a:gd name="T44" fmla="*/ 1508 w 1883"/>
                <a:gd name="T45" fmla="*/ 0 h 1803"/>
                <a:gd name="T46" fmla="*/ 1746 w 1883"/>
                <a:gd name="T47" fmla="*/ 0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83" h="1803">
                  <a:moveTo>
                    <a:pt x="1746" y="0"/>
                  </a:moveTo>
                  <a:lnTo>
                    <a:pt x="1746" y="0"/>
                  </a:lnTo>
                  <a:cubicBezTo>
                    <a:pt x="1882" y="1802"/>
                    <a:pt x="1882" y="1802"/>
                    <a:pt x="1882" y="1802"/>
                  </a:cubicBezTo>
                  <a:cubicBezTo>
                    <a:pt x="1700" y="1802"/>
                    <a:pt x="1700" y="1802"/>
                    <a:pt x="1700" y="1802"/>
                  </a:cubicBezTo>
                  <a:cubicBezTo>
                    <a:pt x="1621" y="680"/>
                    <a:pt x="1621" y="680"/>
                    <a:pt x="1621" y="680"/>
                  </a:cubicBezTo>
                  <a:cubicBezTo>
                    <a:pt x="1610" y="521"/>
                    <a:pt x="1610" y="295"/>
                    <a:pt x="1598" y="193"/>
                  </a:cubicBezTo>
                  <a:lnTo>
                    <a:pt x="1598" y="193"/>
                  </a:lnTo>
                  <a:cubicBezTo>
                    <a:pt x="1575" y="295"/>
                    <a:pt x="1508" y="510"/>
                    <a:pt x="1451" y="657"/>
                  </a:cubicBezTo>
                  <a:cubicBezTo>
                    <a:pt x="1020" y="1802"/>
                    <a:pt x="1020" y="1802"/>
                    <a:pt x="1020" y="1802"/>
                  </a:cubicBezTo>
                  <a:cubicBezTo>
                    <a:pt x="862" y="1802"/>
                    <a:pt x="862" y="1802"/>
                    <a:pt x="862" y="1802"/>
                  </a:cubicBezTo>
                  <a:cubicBezTo>
                    <a:pt x="442" y="657"/>
                    <a:pt x="442" y="657"/>
                    <a:pt x="442" y="657"/>
                  </a:cubicBezTo>
                  <a:cubicBezTo>
                    <a:pt x="374" y="488"/>
                    <a:pt x="306" y="284"/>
                    <a:pt x="283" y="193"/>
                  </a:cubicBezTo>
                  <a:lnTo>
                    <a:pt x="283" y="193"/>
                  </a:lnTo>
                  <a:cubicBezTo>
                    <a:pt x="283" y="238"/>
                    <a:pt x="272" y="510"/>
                    <a:pt x="260" y="657"/>
                  </a:cubicBezTo>
                  <a:cubicBezTo>
                    <a:pt x="181" y="1802"/>
                    <a:pt x="181" y="1802"/>
                    <a:pt x="181" y="1802"/>
                  </a:cubicBezTo>
                  <a:cubicBezTo>
                    <a:pt x="0" y="1802"/>
                    <a:pt x="0" y="1802"/>
                    <a:pt x="0" y="1802"/>
                  </a:cubicBezTo>
                  <a:cubicBezTo>
                    <a:pt x="147" y="0"/>
                    <a:pt x="147" y="0"/>
                    <a:pt x="147" y="0"/>
                  </a:cubicBezTo>
                  <a:cubicBezTo>
                    <a:pt x="385" y="0"/>
                    <a:pt x="385" y="0"/>
                    <a:pt x="385" y="0"/>
                  </a:cubicBezTo>
                  <a:cubicBezTo>
                    <a:pt x="793" y="1121"/>
                    <a:pt x="793" y="1121"/>
                    <a:pt x="793" y="1121"/>
                  </a:cubicBezTo>
                  <a:cubicBezTo>
                    <a:pt x="850" y="1291"/>
                    <a:pt x="895" y="1450"/>
                    <a:pt x="941" y="1575"/>
                  </a:cubicBezTo>
                  <a:lnTo>
                    <a:pt x="941" y="1575"/>
                  </a:lnTo>
                  <a:cubicBezTo>
                    <a:pt x="986" y="1427"/>
                    <a:pt x="1043" y="1280"/>
                    <a:pt x="1099" y="1133"/>
                  </a:cubicBezTo>
                  <a:cubicBezTo>
                    <a:pt x="1508" y="0"/>
                    <a:pt x="1508" y="0"/>
                    <a:pt x="1508" y="0"/>
                  </a:cubicBezTo>
                  <a:lnTo>
                    <a:pt x="1746" y="0"/>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57" name="Freeform 3"/>
            <p:cNvSpPr>
              <a:spLocks noChangeArrowheads="1"/>
            </p:cNvSpPr>
            <p:nvPr/>
          </p:nvSpPr>
          <p:spPr bwMode="auto">
            <a:xfrm>
              <a:off x="828681" y="3617560"/>
              <a:ext cx="370903" cy="480660"/>
            </a:xfrm>
            <a:custGeom>
              <a:avLst/>
              <a:gdLst>
                <a:gd name="T0" fmla="*/ 124 w 1021"/>
                <a:gd name="T1" fmla="*/ 283 h 1326"/>
                <a:gd name="T2" fmla="*/ 124 w 1021"/>
                <a:gd name="T3" fmla="*/ 283 h 1326"/>
                <a:gd name="T4" fmla="*/ 79 w 1021"/>
                <a:gd name="T5" fmla="*/ 147 h 1326"/>
                <a:gd name="T6" fmla="*/ 578 w 1021"/>
                <a:gd name="T7" fmla="*/ 0 h 1326"/>
                <a:gd name="T8" fmla="*/ 997 w 1021"/>
                <a:gd name="T9" fmla="*/ 419 h 1326"/>
                <a:gd name="T10" fmla="*/ 997 w 1021"/>
                <a:gd name="T11" fmla="*/ 1008 h 1326"/>
                <a:gd name="T12" fmla="*/ 1020 w 1021"/>
                <a:gd name="T13" fmla="*/ 1303 h 1326"/>
                <a:gd name="T14" fmla="*/ 861 w 1021"/>
                <a:gd name="T15" fmla="*/ 1303 h 1326"/>
                <a:gd name="T16" fmla="*/ 827 w 1021"/>
                <a:gd name="T17" fmla="*/ 1132 h 1326"/>
                <a:gd name="T18" fmla="*/ 396 w 1021"/>
                <a:gd name="T19" fmla="*/ 1325 h 1326"/>
                <a:gd name="T20" fmla="*/ 0 w 1021"/>
                <a:gd name="T21" fmla="*/ 940 h 1326"/>
                <a:gd name="T22" fmla="*/ 601 w 1021"/>
                <a:gd name="T23" fmla="*/ 520 h 1326"/>
                <a:gd name="T24" fmla="*/ 827 w 1021"/>
                <a:gd name="T25" fmla="*/ 543 h 1326"/>
                <a:gd name="T26" fmla="*/ 827 w 1021"/>
                <a:gd name="T27" fmla="*/ 431 h 1326"/>
                <a:gd name="T28" fmla="*/ 555 w 1021"/>
                <a:gd name="T29" fmla="*/ 147 h 1326"/>
                <a:gd name="T30" fmla="*/ 124 w 1021"/>
                <a:gd name="T31" fmla="*/ 283 h 1326"/>
                <a:gd name="T32" fmla="*/ 827 w 1021"/>
                <a:gd name="T33" fmla="*/ 668 h 1326"/>
                <a:gd name="T34" fmla="*/ 827 w 1021"/>
                <a:gd name="T35" fmla="*/ 668 h 1326"/>
                <a:gd name="T36" fmla="*/ 601 w 1021"/>
                <a:gd name="T37" fmla="*/ 645 h 1326"/>
                <a:gd name="T38" fmla="*/ 170 w 1021"/>
                <a:gd name="T39" fmla="*/ 928 h 1326"/>
                <a:gd name="T40" fmla="*/ 419 w 1021"/>
                <a:gd name="T41" fmla="*/ 1189 h 1326"/>
                <a:gd name="T42" fmla="*/ 827 w 1021"/>
                <a:gd name="T43" fmla="*/ 996 h 1326"/>
                <a:gd name="T44" fmla="*/ 827 w 1021"/>
                <a:gd name="T45" fmla="*/ 668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1" h="1326">
                  <a:moveTo>
                    <a:pt x="124" y="283"/>
                  </a:moveTo>
                  <a:lnTo>
                    <a:pt x="124" y="283"/>
                  </a:lnTo>
                  <a:cubicBezTo>
                    <a:pt x="79" y="147"/>
                    <a:pt x="79" y="147"/>
                    <a:pt x="79" y="147"/>
                  </a:cubicBezTo>
                  <a:cubicBezTo>
                    <a:pt x="204" y="68"/>
                    <a:pt x="385" y="0"/>
                    <a:pt x="578" y="0"/>
                  </a:cubicBezTo>
                  <a:cubicBezTo>
                    <a:pt x="839" y="0"/>
                    <a:pt x="997" y="113"/>
                    <a:pt x="997" y="419"/>
                  </a:cubicBezTo>
                  <a:cubicBezTo>
                    <a:pt x="997" y="1008"/>
                    <a:pt x="997" y="1008"/>
                    <a:pt x="997" y="1008"/>
                  </a:cubicBezTo>
                  <a:cubicBezTo>
                    <a:pt x="997" y="1200"/>
                    <a:pt x="1008" y="1268"/>
                    <a:pt x="1020" y="1303"/>
                  </a:cubicBezTo>
                  <a:cubicBezTo>
                    <a:pt x="861" y="1303"/>
                    <a:pt x="861" y="1303"/>
                    <a:pt x="861" y="1303"/>
                  </a:cubicBezTo>
                  <a:cubicBezTo>
                    <a:pt x="839" y="1280"/>
                    <a:pt x="827" y="1234"/>
                    <a:pt x="827" y="1132"/>
                  </a:cubicBezTo>
                  <a:cubicBezTo>
                    <a:pt x="714" y="1257"/>
                    <a:pt x="555" y="1325"/>
                    <a:pt x="396" y="1325"/>
                  </a:cubicBezTo>
                  <a:cubicBezTo>
                    <a:pt x="170" y="1325"/>
                    <a:pt x="0" y="1200"/>
                    <a:pt x="0" y="940"/>
                  </a:cubicBezTo>
                  <a:cubicBezTo>
                    <a:pt x="0" y="679"/>
                    <a:pt x="193" y="520"/>
                    <a:pt x="601" y="520"/>
                  </a:cubicBezTo>
                  <a:cubicBezTo>
                    <a:pt x="657" y="520"/>
                    <a:pt x="725" y="520"/>
                    <a:pt x="827" y="543"/>
                  </a:cubicBezTo>
                  <a:cubicBezTo>
                    <a:pt x="827" y="431"/>
                    <a:pt x="827" y="431"/>
                    <a:pt x="827" y="431"/>
                  </a:cubicBezTo>
                  <a:cubicBezTo>
                    <a:pt x="827" y="227"/>
                    <a:pt x="737" y="147"/>
                    <a:pt x="555" y="147"/>
                  </a:cubicBezTo>
                  <a:cubicBezTo>
                    <a:pt x="396" y="147"/>
                    <a:pt x="260" y="204"/>
                    <a:pt x="124" y="283"/>
                  </a:cubicBezTo>
                  <a:close/>
                  <a:moveTo>
                    <a:pt x="827" y="668"/>
                  </a:moveTo>
                  <a:lnTo>
                    <a:pt x="827" y="668"/>
                  </a:lnTo>
                  <a:cubicBezTo>
                    <a:pt x="725" y="656"/>
                    <a:pt x="668" y="645"/>
                    <a:pt x="601" y="645"/>
                  </a:cubicBezTo>
                  <a:cubicBezTo>
                    <a:pt x="295" y="645"/>
                    <a:pt x="170" y="747"/>
                    <a:pt x="170" y="928"/>
                  </a:cubicBezTo>
                  <a:cubicBezTo>
                    <a:pt x="170" y="1098"/>
                    <a:pt x="272" y="1189"/>
                    <a:pt x="419" y="1189"/>
                  </a:cubicBezTo>
                  <a:cubicBezTo>
                    <a:pt x="578" y="1189"/>
                    <a:pt x="714" y="1098"/>
                    <a:pt x="827" y="996"/>
                  </a:cubicBezTo>
                  <a:lnTo>
                    <a:pt x="827" y="668"/>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58" name="Freeform 4"/>
            <p:cNvSpPr>
              <a:spLocks noChangeArrowheads="1"/>
            </p:cNvSpPr>
            <p:nvPr/>
          </p:nvSpPr>
          <p:spPr bwMode="auto">
            <a:xfrm>
              <a:off x="1345293" y="3617560"/>
              <a:ext cx="370903" cy="467313"/>
            </a:xfrm>
            <a:custGeom>
              <a:avLst/>
              <a:gdLst>
                <a:gd name="T0" fmla="*/ 0 w 1033"/>
                <a:gd name="T1" fmla="*/ 34 h 1304"/>
                <a:gd name="T2" fmla="*/ 0 w 1033"/>
                <a:gd name="T3" fmla="*/ 34 h 1304"/>
                <a:gd name="T4" fmla="*/ 170 w 1033"/>
                <a:gd name="T5" fmla="*/ 34 h 1304"/>
                <a:gd name="T6" fmla="*/ 170 w 1033"/>
                <a:gd name="T7" fmla="*/ 227 h 1304"/>
                <a:gd name="T8" fmla="*/ 680 w 1033"/>
                <a:gd name="T9" fmla="*/ 0 h 1304"/>
                <a:gd name="T10" fmla="*/ 1032 w 1033"/>
                <a:gd name="T11" fmla="*/ 351 h 1304"/>
                <a:gd name="T12" fmla="*/ 1032 w 1033"/>
                <a:gd name="T13" fmla="*/ 1303 h 1304"/>
                <a:gd name="T14" fmla="*/ 862 w 1033"/>
                <a:gd name="T15" fmla="*/ 1303 h 1304"/>
                <a:gd name="T16" fmla="*/ 862 w 1033"/>
                <a:gd name="T17" fmla="*/ 385 h 1304"/>
                <a:gd name="T18" fmla="*/ 635 w 1033"/>
                <a:gd name="T19" fmla="*/ 158 h 1304"/>
                <a:gd name="T20" fmla="*/ 170 w 1033"/>
                <a:gd name="T21" fmla="*/ 374 h 1304"/>
                <a:gd name="T22" fmla="*/ 170 w 1033"/>
                <a:gd name="T23" fmla="*/ 1303 h 1304"/>
                <a:gd name="T24" fmla="*/ 0 w 1033"/>
                <a:gd name="T25" fmla="*/ 1303 h 1304"/>
                <a:gd name="T26" fmla="*/ 0 w 1033"/>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3" h="1304">
                  <a:moveTo>
                    <a:pt x="0" y="34"/>
                  </a:moveTo>
                  <a:lnTo>
                    <a:pt x="0" y="34"/>
                  </a:lnTo>
                  <a:cubicBezTo>
                    <a:pt x="170" y="34"/>
                    <a:pt x="170" y="34"/>
                    <a:pt x="170" y="34"/>
                  </a:cubicBezTo>
                  <a:cubicBezTo>
                    <a:pt x="170" y="227"/>
                    <a:pt x="170" y="227"/>
                    <a:pt x="170" y="227"/>
                  </a:cubicBezTo>
                  <a:cubicBezTo>
                    <a:pt x="295" y="102"/>
                    <a:pt x="477" y="0"/>
                    <a:pt x="680" y="0"/>
                  </a:cubicBezTo>
                  <a:cubicBezTo>
                    <a:pt x="873" y="0"/>
                    <a:pt x="1032" y="91"/>
                    <a:pt x="1032" y="351"/>
                  </a:cubicBezTo>
                  <a:cubicBezTo>
                    <a:pt x="1032" y="1303"/>
                    <a:pt x="1032" y="1303"/>
                    <a:pt x="1032" y="1303"/>
                  </a:cubicBezTo>
                  <a:cubicBezTo>
                    <a:pt x="862" y="1303"/>
                    <a:pt x="862" y="1303"/>
                    <a:pt x="862" y="1303"/>
                  </a:cubicBezTo>
                  <a:cubicBezTo>
                    <a:pt x="862" y="385"/>
                    <a:pt x="862" y="385"/>
                    <a:pt x="862" y="385"/>
                  </a:cubicBezTo>
                  <a:cubicBezTo>
                    <a:pt x="862" y="215"/>
                    <a:pt x="771" y="158"/>
                    <a:pt x="635" y="158"/>
                  </a:cubicBezTo>
                  <a:cubicBezTo>
                    <a:pt x="465" y="158"/>
                    <a:pt x="307" y="261"/>
                    <a:pt x="170" y="374"/>
                  </a:cubicBezTo>
                  <a:cubicBezTo>
                    <a:pt x="170" y="1303"/>
                    <a:pt x="170" y="1303"/>
                    <a:pt x="170"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59" name="Freeform 5"/>
            <p:cNvSpPr>
              <a:spLocks noChangeArrowheads="1"/>
            </p:cNvSpPr>
            <p:nvPr/>
          </p:nvSpPr>
          <p:spPr bwMode="auto">
            <a:xfrm>
              <a:off x="1888405" y="3617560"/>
              <a:ext cx="370903" cy="467313"/>
            </a:xfrm>
            <a:custGeom>
              <a:avLst/>
              <a:gdLst>
                <a:gd name="T0" fmla="*/ 0 w 1021"/>
                <a:gd name="T1" fmla="*/ 34 h 1304"/>
                <a:gd name="T2" fmla="*/ 0 w 1021"/>
                <a:gd name="T3" fmla="*/ 34 h 1304"/>
                <a:gd name="T4" fmla="*/ 171 w 1021"/>
                <a:gd name="T5" fmla="*/ 34 h 1304"/>
                <a:gd name="T6" fmla="*/ 171 w 1021"/>
                <a:gd name="T7" fmla="*/ 227 h 1304"/>
                <a:gd name="T8" fmla="*/ 681 w 1021"/>
                <a:gd name="T9" fmla="*/ 0 h 1304"/>
                <a:gd name="T10" fmla="*/ 1020 w 1021"/>
                <a:gd name="T11" fmla="*/ 351 h 1304"/>
                <a:gd name="T12" fmla="*/ 1020 w 1021"/>
                <a:gd name="T13" fmla="*/ 1303 h 1304"/>
                <a:gd name="T14" fmla="*/ 850 w 1021"/>
                <a:gd name="T15" fmla="*/ 1303 h 1304"/>
                <a:gd name="T16" fmla="*/ 850 w 1021"/>
                <a:gd name="T17" fmla="*/ 385 h 1304"/>
                <a:gd name="T18" fmla="*/ 635 w 1021"/>
                <a:gd name="T19" fmla="*/ 158 h 1304"/>
                <a:gd name="T20" fmla="*/ 171 w 1021"/>
                <a:gd name="T21" fmla="*/ 374 h 1304"/>
                <a:gd name="T22" fmla="*/ 171 w 1021"/>
                <a:gd name="T23" fmla="*/ 1303 h 1304"/>
                <a:gd name="T24" fmla="*/ 0 w 1021"/>
                <a:gd name="T25" fmla="*/ 1303 h 1304"/>
                <a:gd name="T26" fmla="*/ 0 w 1021"/>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1" h="1304">
                  <a:moveTo>
                    <a:pt x="0" y="34"/>
                  </a:moveTo>
                  <a:lnTo>
                    <a:pt x="0" y="34"/>
                  </a:lnTo>
                  <a:cubicBezTo>
                    <a:pt x="171" y="34"/>
                    <a:pt x="171" y="34"/>
                    <a:pt x="171" y="34"/>
                  </a:cubicBezTo>
                  <a:cubicBezTo>
                    <a:pt x="171" y="227"/>
                    <a:pt x="171" y="227"/>
                    <a:pt x="171" y="227"/>
                  </a:cubicBezTo>
                  <a:cubicBezTo>
                    <a:pt x="295" y="102"/>
                    <a:pt x="465" y="0"/>
                    <a:pt x="681" y="0"/>
                  </a:cubicBezTo>
                  <a:cubicBezTo>
                    <a:pt x="862" y="0"/>
                    <a:pt x="1020" y="91"/>
                    <a:pt x="1020" y="351"/>
                  </a:cubicBezTo>
                  <a:cubicBezTo>
                    <a:pt x="1020" y="1303"/>
                    <a:pt x="1020" y="1303"/>
                    <a:pt x="1020" y="1303"/>
                  </a:cubicBezTo>
                  <a:cubicBezTo>
                    <a:pt x="850" y="1303"/>
                    <a:pt x="850" y="1303"/>
                    <a:pt x="850" y="1303"/>
                  </a:cubicBezTo>
                  <a:cubicBezTo>
                    <a:pt x="850" y="385"/>
                    <a:pt x="850" y="385"/>
                    <a:pt x="850" y="385"/>
                  </a:cubicBezTo>
                  <a:cubicBezTo>
                    <a:pt x="850" y="215"/>
                    <a:pt x="760" y="158"/>
                    <a:pt x="635" y="158"/>
                  </a:cubicBezTo>
                  <a:cubicBezTo>
                    <a:pt x="454" y="158"/>
                    <a:pt x="295" y="261"/>
                    <a:pt x="171" y="374"/>
                  </a:cubicBezTo>
                  <a:cubicBezTo>
                    <a:pt x="171" y="1303"/>
                    <a:pt x="171" y="1303"/>
                    <a:pt x="171"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0" name="Freeform 6"/>
            <p:cNvSpPr>
              <a:spLocks noChangeArrowheads="1"/>
            </p:cNvSpPr>
            <p:nvPr/>
          </p:nvSpPr>
          <p:spPr bwMode="auto">
            <a:xfrm>
              <a:off x="2418267" y="3457340"/>
              <a:ext cx="79479" cy="627533"/>
            </a:xfrm>
            <a:custGeom>
              <a:avLst/>
              <a:gdLst>
                <a:gd name="T0" fmla="*/ 113 w 227"/>
                <a:gd name="T1" fmla="*/ 227 h 1746"/>
                <a:gd name="T2" fmla="*/ 113 w 227"/>
                <a:gd name="T3" fmla="*/ 227 h 1746"/>
                <a:gd name="T4" fmla="*/ 0 w 227"/>
                <a:gd name="T5" fmla="*/ 113 h 1746"/>
                <a:gd name="T6" fmla="*/ 113 w 227"/>
                <a:gd name="T7" fmla="*/ 0 h 1746"/>
                <a:gd name="T8" fmla="*/ 226 w 227"/>
                <a:gd name="T9" fmla="*/ 113 h 1746"/>
                <a:gd name="T10" fmla="*/ 113 w 227"/>
                <a:gd name="T11" fmla="*/ 227 h 1746"/>
                <a:gd name="T12" fmla="*/ 23 w 227"/>
                <a:gd name="T13" fmla="*/ 476 h 1746"/>
                <a:gd name="T14" fmla="*/ 23 w 227"/>
                <a:gd name="T15" fmla="*/ 476 h 1746"/>
                <a:gd name="T16" fmla="*/ 192 w 227"/>
                <a:gd name="T17" fmla="*/ 476 h 1746"/>
                <a:gd name="T18" fmla="*/ 192 w 227"/>
                <a:gd name="T19" fmla="*/ 1745 h 1746"/>
                <a:gd name="T20" fmla="*/ 23 w 227"/>
                <a:gd name="T21" fmla="*/ 1745 h 1746"/>
                <a:gd name="T22" fmla="*/ 23 w 227"/>
                <a:gd name="T23" fmla="*/ 47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746">
                  <a:moveTo>
                    <a:pt x="113" y="227"/>
                  </a:moveTo>
                  <a:lnTo>
                    <a:pt x="113" y="227"/>
                  </a:lnTo>
                  <a:cubicBezTo>
                    <a:pt x="45" y="227"/>
                    <a:pt x="0" y="181"/>
                    <a:pt x="0" y="113"/>
                  </a:cubicBezTo>
                  <a:cubicBezTo>
                    <a:pt x="0" y="45"/>
                    <a:pt x="45" y="0"/>
                    <a:pt x="113" y="0"/>
                  </a:cubicBezTo>
                  <a:cubicBezTo>
                    <a:pt x="181" y="0"/>
                    <a:pt x="226" y="45"/>
                    <a:pt x="226" y="113"/>
                  </a:cubicBezTo>
                  <a:cubicBezTo>
                    <a:pt x="226" y="181"/>
                    <a:pt x="181" y="227"/>
                    <a:pt x="113" y="227"/>
                  </a:cubicBezTo>
                  <a:close/>
                  <a:moveTo>
                    <a:pt x="23" y="476"/>
                  </a:moveTo>
                  <a:lnTo>
                    <a:pt x="23" y="476"/>
                  </a:lnTo>
                  <a:cubicBezTo>
                    <a:pt x="192" y="476"/>
                    <a:pt x="192" y="476"/>
                    <a:pt x="192" y="476"/>
                  </a:cubicBezTo>
                  <a:cubicBezTo>
                    <a:pt x="192" y="1745"/>
                    <a:pt x="192" y="1745"/>
                    <a:pt x="192" y="1745"/>
                  </a:cubicBezTo>
                  <a:cubicBezTo>
                    <a:pt x="23" y="1745"/>
                    <a:pt x="23" y="1745"/>
                    <a:pt x="23" y="1745"/>
                  </a:cubicBezTo>
                  <a:lnTo>
                    <a:pt x="23" y="476"/>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1" name="Freeform 7"/>
            <p:cNvSpPr>
              <a:spLocks noChangeArrowheads="1"/>
            </p:cNvSpPr>
            <p:nvPr/>
          </p:nvSpPr>
          <p:spPr bwMode="auto">
            <a:xfrm>
              <a:off x="2656705" y="3617560"/>
              <a:ext cx="370903" cy="467313"/>
            </a:xfrm>
            <a:custGeom>
              <a:avLst/>
              <a:gdLst>
                <a:gd name="T0" fmla="*/ 0 w 1032"/>
                <a:gd name="T1" fmla="*/ 34 h 1304"/>
                <a:gd name="T2" fmla="*/ 0 w 1032"/>
                <a:gd name="T3" fmla="*/ 34 h 1304"/>
                <a:gd name="T4" fmla="*/ 181 w 1032"/>
                <a:gd name="T5" fmla="*/ 34 h 1304"/>
                <a:gd name="T6" fmla="*/ 181 w 1032"/>
                <a:gd name="T7" fmla="*/ 227 h 1304"/>
                <a:gd name="T8" fmla="*/ 691 w 1032"/>
                <a:gd name="T9" fmla="*/ 0 h 1304"/>
                <a:gd name="T10" fmla="*/ 1031 w 1032"/>
                <a:gd name="T11" fmla="*/ 351 h 1304"/>
                <a:gd name="T12" fmla="*/ 1031 w 1032"/>
                <a:gd name="T13" fmla="*/ 1303 h 1304"/>
                <a:gd name="T14" fmla="*/ 861 w 1032"/>
                <a:gd name="T15" fmla="*/ 1303 h 1304"/>
                <a:gd name="T16" fmla="*/ 861 w 1032"/>
                <a:gd name="T17" fmla="*/ 385 h 1304"/>
                <a:gd name="T18" fmla="*/ 634 w 1032"/>
                <a:gd name="T19" fmla="*/ 158 h 1304"/>
                <a:gd name="T20" fmla="*/ 181 w 1032"/>
                <a:gd name="T21" fmla="*/ 374 h 1304"/>
                <a:gd name="T22" fmla="*/ 181 w 1032"/>
                <a:gd name="T23" fmla="*/ 1303 h 1304"/>
                <a:gd name="T24" fmla="*/ 0 w 1032"/>
                <a:gd name="T25" fmla="*/ 1303 h 1304"/>
                <a:gd name="T26" fmla="*/ 0 w 1032"/>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2" h="1304">
                  <a:moveTo>
                    <a:pt x="0" y="34"/>
                  </a:moveTo>
                  <a:lnTo>
                    <a:pt x="0" y="34"/>
                  </a:lnTo>
                  <a:cubicBezTo>
                    <a:pt x="181" y="34"/>
                    <a:pt x="181" y="34"/>
                    <a:pt x="181" y="34"/>
                  </a:cubicBezTo>
                  <a:cubicBezTo>
                    <a:pt x="181" y="227"/>
                    <a:pt x="181" y="227"/>
                    <a:pt x="181" y="227"/>
                  </a:cubicBezTo>
                  <a:cubicBezTo>
                    <a:pt x="294" y="102"/>
                    <a:pt x="476" y="0"/>
                    <a:pt x="691" y="0"/>
                  </a:cubicBezTo>
                  <a:cubicBezTo>
                    <a:pt x="872" y="0"/>
                    <a:pt x="1031" y="91"/>
                    <a:pt x="1031" y="351"/>
                  </a:cubicBezTo>
                  <a:cubicBezTo>
                    <a:pt x="1031" y="1303"/>
                    <a:pt x="1031" y="1303"/>
                    <a:pt x="1031" y="1303"/>
                  </a:cubicBezTo>
                  <a:cubicBezTo>
                    <a:pt x="861" y="1303"/>
                    <a:pt x="861" y="1303"/>
                    <a:pt x="861" y="1303"/>
                  </a:cubicBezTo>
                  <a:cubicBezTo>
                    <a:pt x="861" y="385"/>
                    <a:pt x="861" y="385"/>
                    <a:pt x="861" y="385"/>
                  </a:cubicBezTo>
                  <a:cubicBezTo>
                    <a:pt x="861" y="215"/>
                    <a:pt x="770" y="158"/>
                    <a:pt x="634" y="158"/>
                  </a:cubicBezTo>
                  <a:cubicBezTo>
                    <a:pt x="464" y="158"/>
                    <a:pt x="306" y="261"/>
                    <a:pt x="181" y="374"/>
                  </a:cubicBezTo>
                  <a:cubicBezTo>
                    <a:pt x="181" y="1303"/>
                    <a:pt x="181" y="1303"/>
                    <a:pt x="181"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2" name="Freeform 8"/>
            <p:cNvSpPr>
              <a:spLocks noChangeArrowheads="1"/>
            </p:cNvSpPr>
            <p:nvPr/>
          </p:nvSpPr>
          <p:spPr bwMode="auto">
            <a:xfrm>
              <a:off x="3133580" y="3617560"/>
              <a:ext cx="476876" cy="667584"/>
            </a:xfrm>
            <a:custGeom>
              <a:avLst/>
              <a:gdLst>
                <a:gd name="T0" fmla="*/ 612 w 1328"/>
                <a:gd name="T1" fmla="*/ 906 h 1859"/>
                <a:gd name="T2" fmla="*/ 612 w 1328"/>
                <a:gd name="T3" fmla="*/ 906 h 1859"/>
                <a:gd name="T4" fmla="*/ 386 w 1328"/>
                <a:gd name="T5" fmla="*/ 860 h 1859"/>
                <a:gd name="T6" fmla="*/ 295 w 1328"/>
                <a:gd name="T7" fmla="*/ 996 h 1859"/>
                <a:gd name="T8" fmla="*/ 533 w 1328"/>
                <a:gd name="T9" fmla="*/ 1110 h 1859"/>
                <a:gd name="T10" fmla="*/ 828 w 1328"/>
                <a:gd name="T11" fmla="*/ 1110 h 1859"/>
                <a:gd name="T12" fmla="*/ 1258 w 1328"/>
                <a:gd name="T13" fmla="*/ 1427 h 1859"/>
                <a:gd name="T14" fmla="*/ 556 w 1328"/>
                <a:gd name="T15" fmla="*/ 1858 h 1859"/>
                <a:gd name="T16" fmla="*/ 0 w 1328"/>
                <a:gd name="T17" fmla="*/ 1540 h 1859"/>
                <a:gd name="T18" fmla="*/ 272 w 1328"/>
                <a:gd name="T19" fmla="*/ 1223 h 1859"/>
                <a:gd name="T20" fmla="*/ 136 w 1328"/>
                <a:gd name="T21" fmla="*/ 1042 h 1859"/>
                <a:gd name="T22" fmla="*/ 284 w 1328"/>
                <a:gd name="T23" fmla="*/ 815 h 1859"/>
                <a:gd name="T24" fmla="*/ 91 w 1328"/>
                <a:gd name="T25" fmla="*/ 464 h 1859"/>
                <a:gd name="T26" fmla="*/ 635 w 1328"/>
                <a:gd name="T27" fmla="*/ 0 h 1859"/>
                <a:gd name="T28" fmla="*/ 1032 w 1328"/>
                <a:gd name="T29" fmla="*/ 125 h 1859"/>
                <a:gd name="T30" fmla="*/ 1270 w 1328"/>
                <a:gd name="T31" fmla="*/ 22 h 1859"/>
                <a:gd name="T32" fmla="*/ 1327 w 1328"/>
                <a:gd name="T33" fmla="*/ 34 h 1859"/>
                <a:gd name="T34" fmla="*/ 1327 w 1328"/>
                <a:gd name="T35" fmla="*/ 193 h 1859"/>
                <a:gd name="T36" fmla="*/ 1270 w 1328"/>
                <a:gd name="T37" fmla="*/ 193 h 1859"/>
                <a:gd name="T38" fmla="*/ 1111 w 1328"/>
                <a:gd name="T39" fmla="*/ 227 h 1859"/>
                <a:gd name="T40" fmla="*/ 1168 w 1328"/>
                <a:gd name="T41" fmla="*/ 441 h 1859"/>
                <a:gd name="T42" fmla="*/ 612 w 1328"/>
                <a:gd name="T43" fmla="*/ 906 h 1859"/>
                <a:gd name="T44" fmla="*/ 454 w 1328"/>
                <a:gd name="T45" fmla="*/ 1268 h 1859"/>
                <a:gd name="T46" fmla="*/ 454 w 1328"/>
                <a:gd name="T47" fmla="*/ 1268 h 1859"/>
                <a:gd name="T48" fmla="*/ 181 w 1328"/>
                <a:gd name="T49" fmla="*/ 1518 h 1859"/>
                <a:gd name="T50" fmla="*/ 578 w 1328"/>
                <a:gd name="T51" fmla="*/ 1722 h 1859"/>
                <a:gd name="T52" fmla="*/ 1088 w 1328"/>
                <a:gd name="T53" fmla="*/ 1450 h 1859"/>
                <a:gd name="T54" fmla="*/ 794 w 1328"/>
                <a:gd name="T55" fmla="*/ 1268 h 1859"/>
                <a:gd name="T56" fmla="*/ 454 w 1328"/>
                <a:gd name="T57" fmla="*/ 1268 h 1859"/>
                <a:gd name="T58" fmla="*/ 635 w 1328"/>
                <a:gd name="T59" fmla="*/ 770 h 1859"/>
                <a:gd name="T60" fmla="*/ 635 w 1328"/>
                <a:gd name="T61" fmla="*/ 770 h 1859"/>
                <a:gd name="T62" fmla="*/ 998 w 1328"/>
                <a:gd name="T63" fmla="*/ 452 h 1859"/>
                <a:gd name="T64" fmla="*/ 635 w 1328"/>
                <a:gd name="T65" fmla="*/ 136 h 1859"/>
                <a:gd name="T66" fmla="*/ 261 w 1328"/>
                <a:gd name="T67" fmla="*/ 452 h 1859"/>
                <a:gd name="T68" fmla="*/ 635 w 1328"/>
                <a:gd name="T69" fmla="*/ 770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28" h="1859">
                  <a:moveTo>
                    <a:pt x="612" y="906"/>
                  </a:moveTo>
                  <a:lnTo>
                    <a:pt x="612" y="906"/>
                  </a:lnTo>
                  <a:cubicBezTo>
                    <a:pt x="533" y="906"/>
                    <a:pt x="454" y="894"/>
                    <a:pt x="386" y="860"/>
                  </a:cubicBezTo>
                  <a:cubicBezTo>
                    <a:pt x="340" y="894"/>
                    <a:pt x="295" y="940"/>
                    <a:pt x="295" y="996"/>
                  </a:cubicBezTo>
                  <a:cubicBezTo>
                    <a:pt x="295" y="1110"/>
                    <a:pt x="420" y="1110"/>
                    <a:pt x="533" y="1110"/>
                  </a:cubicBezTo>
                  <a:cubicBezTo>
                    <a:pt x="828" y="1110"/>
                    <a:pt x="828" y="1110"/>
                    <a:pt x="828" y="1110"/>
                  </a:cubicBezTo>
                  <a:cubicBezTo>
                    <a:pt x="1100" y="1110"/>
                    <a:pt x="1258" y="1223"/>
                    <a:pt x="1258" y="1427"/>
                  </a:cubicBezTo>
                  <a:cubicBezTo>
                    <a:pt x="1258" y="1699"/>
                    <a:pt x="952" y="1858"/>
                    <a:pt x="556" y="1858"/>
                  </a:cubicBezTo>
                  <a:cubicBezTo>
                    <a:pt x="227" y="1858"/>
                    <a:pt x="0" y="1744"/>
                    <a:pt x="0" y="1540"/>
                  </a:cubicBezTo>
                  <a:cubicBezTo>
                    <a:pt x="0" y="1404"/>
                    <a:pt x="91" y="1291"/>
                    <a:pt x="272" y="1223"/>
                  </a:cubicBezTo>
                  <a:cubicBezTo>
                    <a:pt x="193" y="1189"/>
                    <a:pt x="136" y="1132"/>
                    <a:pt x="136" y="1042"/>
                  </a:cubicBezTo>
                  <a:cubicBezTo>
                    <a:pt x="136" y="940"/>
                    <a:pt x="204" y="872"/>
                    <a:pt x="284" y="815"/>
                  </a:cubicBezTo>
                  <a:cubicBezTo>
                    <a:pt x="170" y="747"/>
                    <a:pt x="91" y="622"/>
                    <a:pt x="91" y="464"/>
                  </a:cubicBezTo>
                  <a:cubicBezTo>
                    <a:pt x="91" y="170"/>
                    <a:pt x="340" y="0"/>
                    <a:pt x="635" y="0"/>
                  </a:cubicBezTo>
                  <a:cubicBezTo>
                    <a:pt x="794" y="0"/>
                    <a:pt x="930" y="45"/>
                    <a:pt x="1032" y="125"/>
                  </a:cubicBezTo>
                  <a:cubicBezTo>
                    <a:pt x="1077" y="79"/>
                    <a:pt x="1168" y="22"/>
                    <a:pt x="1270" y="22"/>
                  </a:cubicBezTo>
                  <a:cubicBezTo>
                    <a:pt x="1293" y="22"/>
                    <a:pt x="1304" y="22"/>
                    <a:pt x="1327" y="34"/>
                  </a:cubicBezTo>
                  <a:cubicBezTo>
                    <a:pt x="1327" y="193"/>
                    <a:pt x="1327" y="193"/>
                    <a:pt x="1327" y="193"/>
                  </a:cubicBezTo>
                  <a:cubicBezTo>
                    <a:pt x="1315" y="193"/>
                    <a:pt x="1293" y="193"/>
                    <a:pt x="1270" y="193"/>
                  </a:cubicBezTo>
                  <a:cubicBezTo>
                    <a:pt x="1213" y="193"/>
                    <a:pt x="1157" y="204"/>
                    <a:pt x="1111" y="227"/>
                  </a:cubicBezTo>
                  <a:cubicBezTo>
                    <a:pt x="1145" y="283"/>
                    <a:pt x="1168" y="363"/>
                    <a:pt x="1168" y="441"/>
                  </a:cubicBezTo>
                  <a:cubicBezTo>
                    <a:pt x="1168" y="736"/>
                    <a:pt x="930" y="906"/>
                    <a:pt x="612" y="906"/>
                  </a:cubicBezTo>
                  <a:close/>
                  <a:moveTo>
                    <a:pt x="454" y="1268"/>
                  </a:moveTo>
                  <a:lnTo>
                    <a:pt x="454" y="1268"/>
                  </a:lnTo>
                  <a:cubicBezTo>
                    <a:pt x="284" y="1314"/>
                    <a:pt x="181" y="1393"/>
                    <a:pt x="181" y="1518"/>
                  </a:cubicBezTo>
                  <a:cubicBezTo>
                    <a:pt x="181" y="1654"/>
                    <a:pt x="329" y="1722"/>
                    <a:pt x="578" y="1722"/>
                  </a:cubicBezTo>
                  <a:cubicBezTo>
                    <a:pt x="884" y="1722"/>
                    <a:pt x="1088" y="1620"/>
                    <a:pt x="1088" y="1450"/>
                  </a:cubicBezTo>
                  <a:cubicBezTo>
                    <a:pt x="1088" y="1325"/>
                    <a:pt x="986" y="1268"/>
                    <a:pt x="794" y="1268"/>
                  </a:cubicBezTo>
                  <a:lnTo>
                    <a:pt x="454" y="1268"/>
                  </a:lnTo>
                  <a:close/>
                  <a:moveTo>
                    <a:pt x="635" y="770"/>
                  </a:moveTo>
                  <a:lnTo>
                    <a:pt x="635" y="770"/>
                  </a:lnTo>
                  <a:cubicBezTo>
                    <a:pt x="839" y="770"/>
                    <a:pt x="998" y="668"/>
                    <a:pt x="998" y="452"/>
                  </a:cubicBezTo>
                  <a:cubicBezTo>
                    <a:pt x="998" y="227"/>
                    <a:pt x="839" y="136"/>
                    <a:pt x="635" y="136"/>
                  </a:cubicBezTo>
                  <a:cubicBezTo>
                    <a:pt x="420" y="136"/>
                    <a:pt x="261" y="238"/>
                    <a:pt x="261" y="452"/>
                  </a:cubicBezTo>
                  <a:cubicBezTo>
                    <a:pt x="261" y="679"/>
                    <a:pt x="431" y="770"/>
                    <a:pt x="635" y="770"/>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3" name="Freeform 9"/>
            <p:cNvSpPr>
              <a:spLocks noChangeArrowheads="1"/>
            </p:cNvSpPr>
            <p:nvPr/>
          </p:nvSpPr>
          <p:spPr bwMode="auto">
            <a:xfrm>
              <a:off x="3928373" y="3430637"/>
              <a:ext cx="476876" cy="654236"/>
            </a:xfrm>
            <a:custGeom>
              <a:avLst/>
              <a:gdLst>
                <a:gd name="T0" fmla="*/ 1167 w 1338"/>
                <a:gd name="T1" fmla="*/ 1609 h 1848"/>
                <a:gd name="T2" fmla="*/ 1167 w 1338"/>
                <a:gd name="T3" fmla="*/ 1609 h 1848"/>
                <a:gd name="T4" fmla="*/ 1167 w 1338"/>
                <a:gd name="T5" fmla="*/ 1042 h 1848"/>
                <a:gd name="T6" fmla="*/ 759 w 1338"/>
                <a:gd name="T7" fmla="*/ 1042 h 1848"/>
                <a:gd name="T8" fmla="*/ 759 w 1338"/>
                <a:gd name="T9" fmla="*/ 885 h 1848"/>
                <a:gd name="T10" fmla="*/ 1337 w 1338"/>
                <a:gd name="T11" fmla="*/ 885 h 1848"/>
                <a:gd name="T12" fmla="*/ 1337 w 1338"/>
                <a:gd name="T13" fmla="*/ 1689 h 1848"/>
                <a:gd name="T14" fmla="*/ 771 w 1338"/>
                <a:gd name="T15" fmla="*/ 1847 h 1848"/>
                <a:gd name="T16" fmla="*/ 0 w 1338"/>
                <a:gd name="T17" fmla="*/ 941 h 1848"/>
                <a:gd name="T18" fmla="*/ 793 w 1338"/>
                <a:gd name="T19" fmla="*/ 0 h 1848"/>
                <a:gd name="T20" fmla="*/ 1337 w 1338"/>
                <a:gd name="T21" fmla="*/ 182 h 1848"/>
                <a:gd name="T22" fmla="*/ 1281 w 1338"/>
                <a:gd name="T23" fmla="*/ 352 h 1848"/>
                <a:gd name="T24" fmla="*/ 782 w 1338"/>
                <a:gd name="T25" fmla="*/ 159 h 1848"/>
                <a:gd name="T26" fmla="*/ 170 w 1338"/>
                <a:gd name="T27" fmla="*/ 930 h 1848"/>
                <a:gd name="T28" fmla="*/ 793 w 1338"/>
                <a:gd name="T29" fmla="*/ 1700 h 1848"/>
                <a:gd name="T30" fmla="*/ 1167 w 1338"/>
                <a:gd name="T31" fmla="*/ 1609 h 1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8" h="1848">
                  <a:moveTo>
                    <a:pt x="1167" y="1609"/>
                  </a:moveTo>
                  <a:lnTo>
                    <a:pt x="1167" y="1609"/>
                  </a:lnTo>
                  <a:cubicBezTo>
                    <a:pt x="1167" y="1042"/>
                    <a:pt x="1167" y="1042"/>
                    <a:pt x="1167" y="1042"/>
                  </a:cubicBezTo>
                  <a:cubicBezTo>
                    <a:pt x="759" y="1042"/>
                    <a:pt x="759" y="1042"/>
                    <a:pt x="759" y="1042"/>
                  </a:cubicBezTo>
                  <a:cubicBezTo>
                    <a:pt x="759" y="885"/>
                    <a:pt x="759" y="885"/>
                    <a:pt x="759" y="885"/>
                  </a:cubicBezTo>
                  <a:cubicBezTo>
                    <a:pt x="1337" y="885"/>
                    <a:pt x="1337" y="885"/>
                    <a:pt x="1337" y="885"/>
                  </a:cubicBezTo>
                  <a:cubicBezTo>
                    <a:pt x="1337" y="1689"/>
                    <a:pt x="1337" y="1689"/>
                    <a:pt x="1337" y="1689"/>
                  </a:cubicBezTo>
                  <a:cubicBezTo>
                    <a:pt x="1179" y="1790"/>
                    <a:pt x="997" y="1847"/>
                    <a:pt x="771" y="1847"/>
                  </a:cubicBezTo>
                  <a:cubicBezTo>
                    <a:pt x="306" y="1847"/>
                    <a:pt x="0" y="1552"/>
                    <a:pt x="0" y="941"/>
                  </a:cubicBezTo>
                  <a:cubicBezTo>
                    <a:pt x="0" y="318"/>
                    <a:pt x="328" y="0"/>
                    <a:pt x="793" y="0"/>
                  </a:cubicBezTo>
                  <a:cubicBezTo>
                    <a:pt x="1020" y="0"/>
                    <a:pt x="1190" y="69"/>
                    <a:pt x="1337" y="182"/>
                  </a:cubicBezTo>
                  <a:cubicBezTo>
                    <a:pt x="1281" y="352"/>
                    <a:pt x="1281" y="352"/>
                    <a:pt x="1281" y="352"/>
                  </a:cubicBezTo>
                  <a:cubicBezTo>
                    <a:pt x="1122" y="227"/>
                    <a:pt x="975" y="159"/>
                    <a:pt x="782" y="159"/>
                  </a:cubicBezTo>
                  <a:cubicBezTo>
                    <a:pt x="419" y="159"/>
                    <a:pt x="170" y="408"/>
                    <a:pt x="170" y="930"/>
                  </a:cubicBezTo>
                  <a:cubicBezTo>
                    <a:pt x="170" y="1462"/>
                    <a:pt x="419" y="1700"/>
                    <a:pt x="793" y="1700"/>
                  </a:cubicBezTo>
                  <a:cubicBezTo>
                    <a:pt x="929" y="1700"/>
                    <a:pt x="1054" y="1666"/>
                    <a:pt x="1167" y="1609"/>
                  </a:cubicBez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4" name="Freeform 10"/>
            <p:cNvSpPr>
              <a:spLocks noChangeArrowheads="1"/>
            </p:cNvSpPr>
            <p:nvPr/>
          </p:nvSpPr>
          <p:spPr bwMode="auto">
            <a:xfrm>
              <a:off x="4550956" y="3617560"/>
              <a:ext cx="410647" cy="480660"/>
            </a:xfrm>
            <a:custGeom>
              <a:avLst/>
              <a:gdLst>
                <a:gd name="T0" fmla="*/ 555 w 1134"/>
                <a:gd name="T1" fmla="*/ 1325 h 1326"/>
                <a:gd name="T2" fmla="*/ 555 w 1134"/>
                <a:gd name="T3" fmla="*/ 1325 h 1326"/>
                <a:gd name="T4" fmla="*/ 0 w 1134"/>
                <a:gd name="T5" fmla="*/ 668 h 1326"/>
                <a:gd name="T6" fmla="*/ 567 w 1134"/>
                <a:gd name="T7" fmla="*/ 0 h 1326"/>
                <a:gd name="T8" fmla="*/ 1133 w 1134"/>
                <a:gd name="T9" fmla="*/ 656 h 1326"/>
                <a:gd name="T10" fmla="*/ 555 w 1134"/>
                <a:gd name="T11" fmla="*/ 1325 h 1326"/>
                <a:gd name="T12" fmla="*/ 567 w 1134"/>
                <a:gd name="T13" fmla="*/ 1189 h 1326"/>
                <a:gd name="T14" fmla="*/ 567 w 1134"/>
                <a:gd name="T15" fmla="*/ 1189 h 1326"/>
                <a:gd name="T16" fmla="*/ 963 w 1134"/>
                <a:gd name="T17" fmla="*/ 668 h 1326"/>
                <a:gd name="T18" fmla="*/ 567 w 1134"/>
                <a:gd name="T19" fmla="*/ 147 h 1326"/>
                <a:gd name="T20" fmla="*/ 170 w 1134"/>
                <a:gd name="T21" fmla="*/ 668 h 1326"/>
                <a:gd name="T22" fmla="*/ 567 w 1134"/>
                <a:gd name="T23" fmla="*/ 1189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4" h="1326">
                  <a:moveTo>
                    <a:pt x="555" y="1325"/>
                  </a:moveTo>
                  <a:lnTo>
                    <a:pt x="555" y="1325"/>
                  </a:lnTo>
                  <a:cubicBezTo>
                    <a:pt x="249" y="1325"/>
                    <a:pt x="0" y="1121"/>
                    <a:pt x="0" y="668"/>
                  </a:cubicBezTo>
                  <a:cubicBezTo>
                    <a:pt x="0" y="204"/>
                    <a:pt x="261" y="0"/>
                    <a:pt x="567" y="0"/>
                  </a:cubicBezTo>
                  <a:cubicBezTo>
                    <a:pt x="873" y="0"/>
                    <a:pt x="1133" y="204"/>
                    <a:pt x="1133" y="656"/>
                  </a:cubicBezTo>
                  <a:cubicBezTo>
                    <a:pt x="1133" y="1121"/>
                    <a:pt x="873" y="1325"/>
                    <a:pt x="555" y="1325"/>
                  </a:cubicBezTo>
                  <a:close/>
                  <a:moveTo>
                    <a:pt x="567" y="1189"/>
                  </a:moveTo>
                  <a:lnTo>
                    <a:pt x="567" y="1189"/>
                  </a:lnTo>
                  <a:cubicBezTo>
                    <a:pt x="782" y="1189"/>
                    <a:pt x="963" y="1030"/>
                    <a:pt x="963" y="668"/>
                  </a:cubicBezTo>
                  <a:cubicBezTo>
                    <a:pt x="963" y="295"/>
                    <a:pt x="782" y="147"/>
                    <a:pt x="567" y="147"/>
                  </a:cubicBezTo>
                  <a:cubicBezTo>
                    <a:pt x="340" y="147"/>
                    <a:pt x="170" y="295"/>
                    <a:pt x="170" y="668"/>
                  </a:cubicBezTo>
                  <a:cubicBezTo>
                    <a:pt x="170" y="1030"/>
                    <a:pt x="340" y="1189"/>
                    <a:pt x="567" y="1189"/>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5" name="Freeform 11"/>
            <p:cNvSpPr>
              <a:spLocks noChangeArrowheads="1"/>
            </p:cNvSpPr>
            <p:nvPr/>
          </p:nvSpPr>
          <p:spPr bwMode="auto">
            <a:xfrm>
              <a:off x="5054325" y="3470696"/>
              <a:ext cx="278182" cy="614177"/>
            </a:xfrm>
            <a:custGeom>
              <a:avLst/>
              <a:gdLst>
                <a:gd name="T0" fmla="*/ 0 w 771"/>
                <a:gd name="T1" fmla="*/ 431 h 1712"/>
                <a:gd name="T2" fmla="*/ 0 w 771"/>
                <a:gd name="T3" fmla="*/ 431 h 1712"/>
                <a:gd name="T4" fmla="*/ 259 w 771"/>
                <a:gd name="T5" fmla="*/ 431 h 1712"/>
                <a:gd name="T6" fmla="*/ 259 w 771"/>
                <a:gd name="T7" fmla="*/ 0 h 1712"/>
                <a:gd name="T8" fmla="*/ 429 w 771"/>
                <a:gd name="T9" fmla="*/ 0 h 1712"/>
                <a:gd name="T10" fmla="*/ 429 w 771"/>
                <a:gd name="T11" fmla="*/ 431 h 1712"/>
                <a:gd name="T12" fmla="*/ 770 w 771"/>
                <a:gd name="T13" fmla="*/ 431 h 1712"/>
                <a:gd name="T14" fmla="*/ 770 w 771"/>
                <a:gd name="T15" fmla="*/ 578 h 1712"/>
                <a:gd name="T16" fmla="*/ 429 w 771"/>
                <a:gd name="T17" fmla="*/ 578 h 1712"/>
                <a:gd name="T18" fmla="*/ 429 w 771"/>
                <a:gd name="T19" fmla="*/ 1348 h 1712"/>
                <a:gd name="T20" fmla="*/ 588 w 771"/>
                <a:gd name="T21" fmla="*/ 1564 h 1712"/>
                <a:gd name="T22" fmla="*/ 770 w 771"/>
                <a:gd name="T23" fmla="*/ 1529 h 1712"/>
                <a:gd name="T24" fmla="*/ 770 w 771"/>
                <a:gd name="T25" fmla="*/ 1688 h 1712"/>
                <a:gd name="T26" fmla="*/ 554 w 771"/>
                <a:gd name="T27" fmla="*/ 1711 h 1712"/>
                <a:gd name="T28" fmla="*/ 259 w 771"/>
                <a:gd name="T29" fmla="*/ 1371 h 1712"/>
                <a:gd name="T30" fmla="*/ 259 w 771"/>
                <a:gd name="T31" fmla="*/ 578 h 1712"/>
                <a:gd name="T32" fmla="*/ 0 w 771"/>
                <a:gd name="T33" fmla="*/ 578 h 1712"/>
                <a:gd name="T34" fmla="*/ 0 w 771"/>
                <a:gd name="T35" fmla="*/ 431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1" h="1712">
                  <a:moveTo>
                    <a:pt x="0" y="431"/>
                  </a:moveTo>
                  <a:lnTo>
                    <a:pt x="0" y="431"/>
                  </a:lnTo>
                  <a:cubicBezTo>
                    <a:pt x="259" y="431"/>
                    <a:pt x="259" y="431"/>
                    <a:pt x="259" y="431"/>
                  </a:cubicBezTo>
                  <a:cubicBezTo>
                    <a:pt x="259" y="0"/>
                    <a:pt x="259" y="0"/>
                    <a:pt x="259" y="0"/>
                  </a:cubicBezTo>
                  <a:cubicBezTo>
                    <a:pt x="429" y="0"/>
                    <a:pt x="429" y="0"/>
                    <a:pt x="429" y="0"/>
                  </a:cubicBezTo>
                  <a:cubicBezTo>
                    <a:pt x="429" y="431"/>
                    <a:pt x="429" y="431"/>
                    <a:pt x="429" y="431"/>
                  </a:cubicBezTo>
                  <a:cubicBezTo>
                    <a:pt x="770" y="431"/>
                    <a:pt x="770" y="431"/>
                    <a:pt x="770" y="431"/>
                  </a:cubicBezTo>
                  <a:cubicBezTo>
                    <a:pt x="770" y="578"/>
                    <a:pt x="770" y="578"/>
                    <a:pt x="770" y="578"/>
                  </a:cubicBezTo>
                  <a:cubicBezTo>
                    <a:pt x="429" y="578"/>
                    <a:pt x="429" y="578"/>
                    <a:pt x="429" y="578"/>
                  </a:cubicBezTo>
                  <a:cubicBezTo>
                    <a:pt x="429" y="1348"/>
                    <a:pt x="429" y="1348"/>
                    <a:pt x="429" y="1348"/>
                  </a:cubicBezTo>
                  <a:cubicBezTo>
                    <a:pt x="429" y="1518"/>
                    <a:pt x="464" y="1564"/>
                    <a:pt x="588" y="1564"/>
                  </a:cubicBezTo>
                  <a:cubicBezTo>
                    <a:pt x="656" y="1564"/>
                    <a:pt x="713" y="1552"/>
                    <a:pt x="770" y="1529"/>
                  </a:cubicBezTo>
                  <a:cubicBezTo>
                    <a:pt x="770" y="1688"/>
                    <a:pt x="770" y="1688"/>
                    <a:pt x="770" y="1688"/>
                  </a:cubicBezTo>
                  <a:cubicBezTo>
                    <a:pt x="713" y="1700"/>
                    <a:pt x="645" y="1711"/>
                    <a:pt x="554" y="1711"/>
                  </a:cubicBezTo>
                  <a:cubicBezTo>
                    <a:pt x="339" y="1711"/>
                    <a:pt x="259" y="1631"/>
                    <a:pt x="259" y="1371"/>
                  </a:cubicBezTo>
                  <a:cubicBezTo>
                    <a:pt x="259" y="578"/>
                    <a:pt x="259" y="578"/>
                    <a:pt x="259" y="578"/>
                  </a:cubicBezTo>
                  <a:cubicBezTo>
                    <a:pt x="0" y="578"/>
                    <a:pt x="0" y="578"/>
                    <a:pt x="0" y="578"/>
                  </a:cubicBezTo>
                  <a:lnTo>
                    <a:pt x="0" y="431"/>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6" name="Freeform 12"/>
            <p:cNvSpPr>
              <a:spLocks noChangeArrowheads="1"/>
            </p:cNvSpPr>
            <p:nvPr/>
          </p:nvSpPr>
          <p:spPr bwMode="auto">
            <a:xfrm>
              <a:off x="5411986" y="3470696"/>
              <a:ext cx="278173" cy="614177"/>
            </a:xfrm>
            <a:custGeom>
              <a:avLst/>
              <a:gdLst>
                <a:gd name="T0" fmla="*/ 0 w 772"/>
                <a:gd name="T1" fmla="*/ 431 h 1712"/>
                <a:gd name="T2" fmla="*/ 0 w 772"/>
                <a:gd name="T3" fmla="*/ 431 h 1712"/>
                <a:gd name="T4" fmla="*/ 261 w 772"/>
                <a:gd name="T5" fmla="*/ 431 h 1712"/>
                <a:gd name="T6" fmla="*/ 261 w 772"/>
                <a:gd name="T7" fmla="*/ 0 h 1712"/>
                <a:gd name="T8" fmla="*/ 431 w 772"/>
                <a:gd name="T9" fmla="*/ 0 h 1712"/>
                <a:gd name="T10" fmla="*/ 431 w 772"/>
                <a:gd name="T11" fmla="*/ 431 h 1712"/>
                <a:gd name="T12" fmla="*/ 771 w 772"/>
                <a:gd name="T13" fmla="*/ 431 h 1712"/>
                <a:gd name="T14" fmla="*/ 771 w 772"/>
                <a:gd name="T15" fmla="*/ 578 h 1712"/>
                <a:gd name="T16" fmla="*/ 431 w 772"/>
                <a:gd name="T17" fmla="*/ 578 h 1712"/>
                <a:gd name="T18" fmla="*/ 431 w 772"/>
                <a:gd name="T19" fmla="*/ 1348 h 1712"/>
                <a:gd name="T20" fmla="*/ 590 w 772"/>
                <a:gd name="T21" fmla="*/ 1564 h 1712"/>
                <a:gd name="T22" fmla="*/ 771 w 772"/>
                <a:gd name="T23" fmla="*/ 1529 h 1712"/>
                <a:gd name="T24" fmla="*/ 771 w 772"/>
                <a:gd name="T25" fmla="*/ 1688 h 1712"/>
                <a:gd name="T26" fmla="*/ 556 w 772"/>
                <a:gd name="T27" fmla="*/ 1711 h 1712"/>
                <a:gd name="T28" fmla="*/ 261 w 772"/>
                <a:gd name="T29" fmla="*/ 1371 h 1712"/>
                <a:gd name="T30" fmla="*/ 261 w 772"/>
                <a:gd name="T31" fmla="*/ 578 h 1712"/>
                <a:gd name="T32" fmla="*/ 0 w 772"/>
                <a:gd name="T33" fmla="*/ 578 h 1712"/>
                <a:gd name="T34" fmla="*/ 0 w 772"/>
                <a:gd name="T35" fmla="*/ 431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2" h="1712">
                  <a:moveTo>
                    <a:pt x="0" y="431"/>
                  </a:moveTo>
                  <a:lnTo>
                    <a:pt x="0" y="431"/>
                  </a:lnTo>
                  <a:cubicBezTo>
                    <a:pt x="261" y="431"/>
                    <a:pt x="261" y="431"/>
                    <a:pt x="261" y="431"/>
                  </a:cubicBezTo>
                  <a:cubicBezTo>
                    <a:pt x="261" y="0"/>
                    <a:pt x="261" y="0"/>
                    <a:pt x="261" y="0"/>
                  </a:cubicBezTo>
                  <a:cubicBezTo>
                    <a:pt x="431" y="0"/>
                    <a:pt x="431" y="0"/>
                    <a:pt x="431" y="0"/>
                  </a:cubicBezTo>
                  <a:cubicBezTo>
                    <a:pt x="431" y="431"/>
                    <a:pt x="431" y="431"/>
                    <a:pt x="431" y="431"/>
                  </a:cubicBezTo>
                  <a:cubicBezTo>
                    <a:pt x="771" y="431"/>
                    <a:pt x="771" y="431"/>
                    <a:pt x="771" y="431"/>
                  </a:cubicBezTo>
                  <a:cubicBezTo>
                    <a:pt x="771" y="578"/>
                    <a:pt x="771" y="578"/>
                    <a:pt x="771" y="578"/>
                  </a:cubicBezTo>
                  <a:cubicBezTo>
                    <a:pt x="431" y="578"/>
                    <a:pt x="431" y="578"/>
                    <a:pt x="431" y="578"/>
                  </a:cubicBezTo>
                  <a:cubicBezTo>
                    <a:pt x="431" y="1348"/>
                    <a:pt x="431" y="1348"/>
                    <a:pt x="431" y="1348"/>
                  </a:cubicBezTo>
                  <a:cubicBezTo>
                    <a:pt x="431" y="1518"/>
                    <a:pt x="465" y="1564"/>
                    <a:pt x="590" y="1564"/>
                  </a:cubicBezTo>
                  <a:cubicBezTo>
                    <a:pt x="658" y="1564"/>
                    <a:pt x="714" y="1552"/>
                    <a:pt x="771" y="1529"/>
                  </a:cubicBezTo>
                  <a:cubicBezTo>
                    <a:pt x="771" y="1688"/>
                    <a:pt x="771" y="1688"/>
                    <a:pt x="771" y="1688"/>
                  </a:cubicBezTo>
                  <a:cubicBezTo>
                    <a:pt x="714" y="1700"/>
                    <a:pt x="647" y="1711"/>
                    <a:pt x="556" y="1711"/>
                  </a:cubicBezTo>
                  <a:cubicBezTo>
                    <a:pt x="340" y="1711"/>
                    <a:pt x="261" y="1631"/>
                    <a:pt x="261" y="1371"/>
                  </a:cubicBezTo>
                  <a:cubicBezTo>
                    <a:pt x="261" y="578"/>
                    <a:pt x="261" y="578"/>
                    <a:pt x="261" y="578"/>
                  </a:cubicBezTo>
                  <a:cubicBezTo>
                    <a:pt x="0" y="578"/>
                    <a:pt x="0" y="578"/>
                    <a:pt x="0" y="578"/>
                  </a:cubicBezTo>
                  <a:lnTo>
                    <a:pt x="0" y="431"/>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7" name="Freeform 13"/>
            <p:cNvSpPr>
              <a:spLocks noChangeArrowheads="1"/>
            </p:cNvSpPr>
            <p:nvPr/>
          </p:nvSpPr>
          <p:spPr bwMode="auto">
            <a:xfrm>
              <a:off x="5822625" y="3430637"/>
              <a:ext cx="66237" cy="654236"/>
            </a:xfrm>
            <a:custGeom>
              <a:avLst/>
              <a:gdLst>
                <a:gd name="T0" fmla="*/ 0 w 183"/>
                <a:gd name="T1" fmla="*/ 0 h 1803"/>
                <a:gd name="T2" fmla="*/ 182 w 183"/>
                <a:gd name="T3" fmla="*/ 0 h 1803"/>
                <a:gd name="T4" fmla="*/ 182 w 183"/>
                <a:gd name="T5" fmla="*/ 1802 h 1803"/>
                <a:gd name="T6" fmla="*/ 0 w 183"/>
                <a:gd name="T7" fmla="*/ 1802 h 1803"/>
                <a:gd name="T8" fmla="*/ 0 w 183"/>
                <a:gd name="T9" fmla="*/ 0 h 1803"/>
              </a:gdLst>
              <a:ahLst/>
              <a:cxnLst>
                <a:cxn ang="0">
                  <a:pos x="T0" y="T1"/>
                </a:cxn>
                <a:cxn ang="0">
                  <a:pos x="T2" y="T3"/>
                </a:cxn>
                <a:cxn ang="0">
                  <a:pos x="T4" y="T5"/>
                </a:cxn>
                <a:cxn ang="0">
                  <a:pos x="T6" y="T7"/>
                </a:cxn>
                <a:cxn ang="0">
                  <a:pos x="T8" y="T9"/>
                </a:cxn>
              </a:cxnLst>
              <a:rect l="0" t="0" r="r" b="b"/>
              <a:pathLst>
                <a:path w="183" h="1803">
                  <a:moveTo>
                    <a:pt x="0" y="0"/>
                  </a:moveTo>
                  <a:lnTo>
                    <a:pt x="182" y="0"/>
                  </a:lnTo>
                  <a:lnTo>
                    <a:pt x="182" y="1802"/>
                  </a:lnTo>
                  <a:lnTo>
                    <a:pt x="0" y="1802"/>
                  </a:lnTo>
                  <a:lnTo>
                    <a:pt x="0" y="0"/>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8" name="Freeform 14"/>
            <p:cNvSpPr>
              <a:spLocks noChangeArrowheads="1"/>
            </p:cNvSpPr>
            <p:nvPr/>
          </p:nvSpPr>
          <p:spPr bwMode="auto">
            <a:xfrm>
              <a:off x="6047820" y="3457340"/>
              <a:ext cx="92722" cy="627533"/>
            </a:xfrm>
            <a:custGeom>
              <a:avLst/>
              <a:gdLst>
                <a:gd name="T0" fmla="*/ 125 w 239"/>
                <a:gd name="T1" fmla="*/ 227 h 1746"/>
                <a:gd name="T2" fmla="*/ 125 w 239"/>
                <a:gd name="T3" fmla="*/ 227 h 1746"/>
                <a:gd name="T4" fmla="*/ 0 w 239"/>
                <a:gd name="T5" fmla="*/ 113 h 1746"/>
                <a:gd name="T6" fmla="*/ 125 w 239"/>
                <a:gd name="T7" fmla="*/ 0 h 1746"/>
                <a:gd name="T8" fmla="*/ 238 w 239"/>
                <a:gd name="T9" fmla="*/ 113 h 1746"/>
                <a:gd name="T10" fmla="*/ 125 w 239"/>
                <a:gd name="T11" fmla="*/ 227 h 1746"/>
                <a:gd name="T12" fmla="*/ 34 w 239"/>
                <a:gd name="T13" fmla="*/ 476 h 1746"/>
                <a:gd name="T14" fmla="*/ 34 w 239"/>
                <a:gd name="T15" fmla="*/ 476 h 1746"/>
                <a:gd name="T16" fmla="*/ 204 w 239"/>
                <a:gd name="T17" fmla="*/ 476 h 1746"/>
                <a:gd name="T18" fmla="*/ 204 w 239"/>
                <a:gd name="T19" fmla="*/ 1745 h 1746"/>
                <a:gd name="T20" fmla="*/ 34 w 239"/>
                <a:gd name="T21" fmla="*/ 1745 h 1746"/>
                <a:gd name="T22" fmla="*/ 34 w 239"/>
                <a:gd name="T23" fmla="*/ 47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9" h="1746">
                  <a:moveTo>
                    <a:pt x="125" y="227"/>
                  </a:moveTo>
                  <a:lnTo>
                    <a:pt x="125" y="227"/>
                  </a:lnTo>
                  <a:cubicBezTo>
                    <a:pt x="57" y="227"/>
                    <a:pt x="0" y="181"/>
                    <a:pt x="0" y="113"/>
                  </a:cubicBezTo>
                  <a:cubicBezTo>
                    <a:pt x="0" y="45"/>
                    <a:pt x="57" y="0"/>
                    <a:pt x="125" y="0"/>
                  </a:cubicBezTo>
                  <a:cubicBezTo>
                    <a:pt x="193" y="0"/>
                    <a:pt x="238" y="45"/>
                    <a:pt x="238" y="113"/>
                  </a:cubicBezTo>
                  <a:cubicBezTo>
                    <a:pt x="238" y="181"/>
                    <a:pt x="193" y="227"/>
                    <a:pt x="125" y="227"/>
                  </a:cubicBezTo>
                  <a:close/>
                  <a:moveTo>
                    <a:pt x="34" y="476"/>
                  </a:moveTo>
                  <a:lnTo>
                    <a:pt x="34" y="476"/>
                  </a:lnTo>
                  <a:cubicBezTo>
                    <a:pt x="204" y="476"/>
                    <a:pt x="204" y="476"/>
                    <a:pt x="204" y="476"/>
                  </a:cubicBezTo>
                  <a:cubicBezTo>
                    <a:pt x="204" y="1745"/>
                    <a:pt x="204" y="1745"/>
                    <a:pt x="204" y="1745"/>
                  </a:cubicBezTo>
                  <a:cubicBezTo>
                    <a:pt x="34" y="1745"/>
                    <a:pt x="34" y="1745"/>
                    <a:pt x="34" y="1745"/>
                  </a:cubicBezTo>
                  <a:lnTo>
                    <a:pt x="34" y="476"/>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9" name="Freeform 15"/>
            <p:cNvSpPr>
              <a:spLocks noChangeArrowheads="1"/>
            </p:cNvSpPr>
            <p:nvPr/>
          </p:nvSpPr>
          <p:spPr bwMode="auto">
            <a:xfrm>
              <a:off x="6273007" y="3617560"/>
              <a:ext cx="384154" cy="480660"/>
            </a:xfrm>
            <a:custGeom>
              <a:avLst/>
              <a:gdLst>
                <a:gd name="T0" fmla="*/ 170 w 1078"/>
                <a:gd name="T1" fmla="*/ 702 h 1326"/>
                <a:gd name="T2" fmla="*/ 170 w 1078"/>
                <a:gd name="T3" fmla="*/ 702 h 1326"/>
                <a:gd name="T4" fmla="*/ 590 w 1078"/>
                <a:gd name="T5" fmla="*/ 1189 h 1326"/>
                <a:gd name="T6" fmla="*/ 986 w 1078"/>
                <a:gd name="T7" fmla="*/ 1053 h 1326"/>
                <a:gd name="T8" fmla="*/ 1043 w 1078"/>
                <a:gd name="T9" fmla="*/ 1200 h 1326"/>
                <a:gd name="T10" fmla="*/ 567 w 1078"/>
                <a:gd name="T11" fmla="*/ 1325 h 1326"/>
                <a:gd name="T12" fmla="*/ 0 w 1078"/>
                <a:gd name="T13" fmla="*/ 679 h 1326"/>
                <a:gd name="T14" fmla="*/ 567 w 1078"/>
                <a:gd name="T15" fmla="*/ 0 h 1326"/>
                <a:gd name="T16" fmla="*/ 1077 w 1078"/>
                <a:gd name="T17" fmla="*/ 600 h 1326"/>
                <a:gd name="T18" fmla="*/ 1066 w 1078"/>
                <a:gd name="T19" fmla="*/ 702 h 1326"/>
                <a:gd name="T20" fmla="*/ 170 w 1078"/>
                <a:gd name="T21" fmla="*/ 702 h 1326"/>
                <a:gd name="T22" fmla="*/ 170 w 1078"/>
                <a:gd name="T23" fmla="*/ 566 h 1326"/>
                <a:gd name="T24" fmla="*/ 170 w 1078"/>
                <a:gd name="T25" fmla="*/ 566 h 1326"/>
                <a:gd name="T26" fmla="*/ 907 w 1078"/>
                <a:gd name="T27" fmla="*/ 566 h 1326"/>
                <a:gd name="T28" fmla="*/ 567 w 1078"/>
                <a:gd name="T29" fmla="*/ 136 h 1326"/>
                <a:gd name="T30" fmla="*/ 170 w 1078"/>
                <a:gd name="T31" fmla="*/ 566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8" h="1326">
                  <a:moveTo>
                    <a:pt x="170" y="702"/>
                  </a:moveTo>
                  <a:lnTo>
                    <a:pt x="170" y="702"/>
                  </a:lnTo>
                  <a:cubicBezTo>
                    <a:pt x="181" y="1042"/>
                    <a:pt x="352" y="1189"/>
                    <a:pt x="590" y="1189"/>
                  </a:cubicBezTo>
                  <a:cubicBezTo>
                    <a:pt x="726" y="1189"/>
                    <a:pt x="850" y="1144"/>
                    <a:pt x="986" y="1053"/>
                  </a:cubicBezTo>
                  <a:cubicBezTo>
                    <a:pt x="1043" y="1200"/>
                    <a:pt x="1043" y="1200"/>
                    <a:pt x="1043" y="1200"/>
                  </a:cubicBezTo>
                  <a:cubicBezTo>
                    <a:pt x="907" y="1280"/>
                    <a:pt x="737" y="1325"/>
                    <a:pt x="567" y="1325"/>
                  </a:cubicBezTo>
                  <a:cubicBezTo>
                    <a:pt x="227" y="1325"/>
                    <a:pt x="0" y="1110"/>
                    <a:pt x="0" y="679"/>
                  </a:cubicBezTo>
                  <a:cubicBezTo>
                    <a:pt x="0" y="238"/>
                    <a:pt x="250" y="0"/>
                    <a:pt x="567" y="0"/>
                  </a:cubicBezTo>
                  <a:cubicBezTo>
                    <a:pt x="873" y="0"/>
                    <a:pt x="1077" y="204"/>
                    <a:pt x="1077" y="600"/>
                  </a:cubicBezTo>
                  <a:cubicBezTo>
                    <a:pt x="1077" y="645"/>
                    <a:pt x="1077" y="668"/>
                    <a:pt x="1066" y="702"/>
                  </a:cubicBezTo>
                  <a:lnTo>
                    <a:pt x="170" y="702"/>
                  </a:lnTo>
                  <a:close/>
                  <a:moveTo>
                    <a:pt x="170" y="566"/>
                  </a:moveTo>
                  <a:lnTo>
                    <a:pt x="170" y="566"/>
                  </a:lnTo>
                  <a:cubicBezTo>
                    <a:pt x="907" y="566"/>
                    <a:pt x="907" y="566"/>
                    <a:pt x="907" y="566"/>
                  </a:cubicBezTo>
                  <a:cubicBezTo>
                    <a:pt x="907" y="261"/>
                    <a:pt x="760" y="136"/>
                    <a:pt x="567" y="136"/>
                  </a:cubicBezTo>
                  <a:cubicBezTo>
                    <a:pt x="352" y="136"/>
                    <a:pt x="193" y="295"/>
                    <a:pt x="170" y="566"/>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70" name="Freeform 16"/>
            <p:cNvSpPr>
              <a:spLocks noChangeArrowheads="1"/>
            </p:cNvSpPr>
            <p:nvPr/>
          </p:nvSpPr>
          <p:spPr bwMode="auto">
            <a:xfrm>
              <a:off x="6802869" y="3430637"/>
              <a:ext cx="397396" cy="654236"/>
            </a:xfrm>
            <a:custGeom>
              <a:avLst/>
              <a:gdLst>
                <a:gd name="T0" fmla="*/ 170 w 1100"/>
                <a:gd name="T1" fmla="*/ 0 h 1825"/>
                <a:gd name="T2" fmla="*/ 170 w 1100"/>
                <a:gd name="T3" fmla="*/ 0 h 1825"/>
                <a:gd name="T4" fmla="*/ 170 w 1100"/>
                <a:gd name="T5" fmla="*/ 714 h 1825"/>
                <a:gd name="T6" fmla="*/ 601 w 1100"/>
                <a:gd name="T7" fmla="*/ 499 h 1825"/>
                <a:gd name="T8" fmla="*/ 1099 w 1100"/>
                <a:gd name="T9" fmla="*/ 1155 h 1825"/>
                <a:gd name="T10" fmla="*/ 578 w 1100"/>
                <a:gd name="T11" fmla="*/ 1824 h 1825"/>
                <a:gd name="T12" fmla="*/ 158 w 1100"/>
                <a:gd name="T13" fmla="*/ 1620 h 1825"/>
                <a:gd name="T14" fmla="*/ 158 w 1100"/>
                <a:gd name="T15" fmla="*/ 1802 h 1825"/>
                <a:gd name="T16" fmla="*/ 0 w 1100"/>
                <a:gd name="T17" fmla="*/ 1802 h 1825"/>
                <a:gd name="T18" fmla="*/ 0 w 1100"/>
                <a:gd name="T19" fmla="*/ 0 h 1825"/>
                <a:gd name="T20" fmla="*/ 170 w 1100"/>
                <a:gd name="T21" fmla="*/ 0 h 1825"/>
                <a:gd name="T22" fmla="*/ 170 w 1100"/>
                <a:gd name="T23" fmla="*/ 862 h 1825"/>
                <a:gd name="T24" fmla="*/ 170 w 1100"/>
                <a:gd name="T25" fmla="*/ 862 h 1825"/>
                <a:gd name="T26" fmla="*/ 170 w 1100"/>
                <a:gd name="T27" fmla="*/ 1484 h 1825"/>
                <a:gd name="T28" fmla="*/ 555 w 1100"/>
                <a:gd name="T29" fmla="*/ 1677 h 1825"/>
                <a:gd name="T30" fmla="*/ 929 w 1100"/>
                <a:gd name="T31" fmla="*/ 1167 h 1825"/>
                <a:gd name="T32" fmla="*/ 567 w 1100"/>
                <a:gd name="T33" fmla="*/ 646 h 1825"/>
                <a:gd name="T34" fmla="*/ 170 w 1100"/>
                <a:gd name="T35" fmla="*/ 862 h 1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0" h="1825">
                  <a:moveTo>
                    <a:pt x="170" y="0"/>
                  </a:moveTo>
                  <a:lnTo>
                    <a:pt x="170" y="0"/>
                  </a:lnTo>
                  <a:cubicBezTo>
                    <a:pt x="170" y="714"/>
                    <a:pt x="170" y="714"/>
                    <a:pt x="170" y="714"/>
                  </a:cubicBezTo>
                  <a:cubicBezTo>
                    <a:pt x="283" y="578"/>
                    <a:pt x="431" y="499"/>
                    <a:pt x="601" y="499"/>
                  </a:cubicBezTo>
                  <a:cubicBezTo>
                    <a:pt x="884" y="499"/>
                    <a:pt x="1099" y="726"/>
                    <a:pt x="1099" y="1155"/>
                  </a:cubicBezTo>
                  <a:cubicBezTo>
                    <a:pt x="1099" y="1597"/>
                    <a:pt x="873" y="1824"/>
                    <a:pt x="578" y="1824"/>
                  </a:cubicBezTo>
                  <a:cubicBezTo>
                    <a:pt x="419" y="1824"/>
                    <a:pt x="283" y="1756"/>
                    <a:pt x="158" y="1620"/>
                  </a:cubicBezTo>
                  <a:cubicBezTo>
                    <a:pt x="158" y="1802"/>
                    <a:pt x="158" y="1802"/>
                    <a:pt x="158" y="1802"/>
                  </a:cubicBezTo>
                  <a:cubicBezTo>
                    <a:pt x="0" y="1802"/>
                    <a:pt x="0" y="1802"/>
                    <a:pt x="0" y="1802"/>
                  </a:cubicBezTo>
                  <a:cubicBezTo>
                    <a:pt x="0" y="0"/>
                    <a:pt x="0" y="0"/>
                    <a:pt x="0" y="0"/>
                  </a:cubicBezTo>
                  <a:lnTo>
                    <a:pt x="170" y="0"/>
                  </a:lnTo>
                  <a:close/>
                  <a:moveTo>
                    <a:pt x="170" y="862"/>
                  </a:moveTo>
                  <a:lnTo>
                    <a:pt x="170" y="862"/>
                  </a:lnTo>
                  <a:cubicBezTo>
                    <a:pt x="170" y="1484"/>
                    <a:pt x="170" y="1484"/>
                    <a:pt x="170" y="1484"/>
                  </a:cubicBezTo>
                  <a:cubicBezTo>
                    <a:pt x="283" y="1609"/>
                    <a:pt x="408" y="1677"/>
                    <a:pt x="555" y="1677"/>
                  </a:cubicBezTo>
                  <a:cubicBezTo>
                    <a:pt x="771" y="1677"/>
                    <a:pt x="929" y="1518"/>
                    <a:pt x="929" y="1167"/>
                  </a:cubicBezTo>
                  <a:cubicBezTo>
                    <a:pt x="929" y="816"/>
                    <a:pt x="782" y="646"/>
                    <a:pt x="567" y="646"/>
                  </a:cubicBezTo>
                  <a:cubicBezTo>
                    <a:pt x="419" y="646"/>
                    <a:pt x="283" y="737"/>
                    <a:pt x="170" y="862"/>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71" name="Freeform 17"/>
            <p:cNvSpPr>
              <a:spLocks noChangeArrowheads="1"/>
            </p:cNvSpPr>
            <p:nvPr/>
          </p:nvSpPr>
          <p:spPr bwMode="auto">
            <a:xfrm>
              <a:off x="7597662" y="3163603"/>
              <a:ext cx="52986" cy="1241710"/>
            </a:xfrm>
            <a:custGeom>
              <a:avLst/>
              <a:gdLst>
                <a:gd name="T0" fmla="*/ 158 w 159"/>
                <a:gd name="T1" fmla="*/ 3467 h 3468"/>
                <a:gd name="T2" fmla="*/ 0 w 159"/>
                <a:gd name="T3" fmla="*/ 3467 h 3468"/>
                <a:gd name="T4" fmla="*/ 0 w 159"/>
                <a:gd name="T5" fmla="*/ 0 h 3468"/>
                <a:gd name="T6" fmla="*/ 158 w 159"/>
                <a:gd name="T7" fmla="*/ 0 h 3468"/>
                <a:gd name="T8" fmla="*/ 158 w 159"/>
                <a:gd name="T9" fmla="*/ 3467 h 3468"/>
              </a:gdLst>
              <a:ahLst/>
              <a:cxnLst>
                <a:cxn ang="0">
                  <a:pos x="T0" y="T1"/>
                </a:cxn>
                <a:cxn ang="0">
                  <a:pos x="T2" y="T3"/>
                </a:cxn>
                <a:cxn ang="0">
                  <a:pos x="T4" y="T5"/>
                </a:cxn>
                <a:cxn ang="0">
                  <a:pos x="T6" y="T7"/>
                </a:cxn>
                <a:cxn ang="0">
                  <a:pos x="T8" y="T9"/>
                </a:cxn>
              </a:cxnLst>
              <a:rect l="0" t="0" r="r" b="b"/>
              <a:pathLst>
                <a:path w="159" h="3468">
                  <a:moveTo>
                    <a:pt x="158" y="3467"/>
                  </a:moveTo>
                  <a:lnTo>
                    <a:pt x="0" y="3467"/>
                  </a:lnTo>
                  <a:lnTo>
                    <a:pt x="0" y="0"/>
                  </a:lnTo>
                  <a:lnTo>
                    <a:pt x="158" y="0"/>
                  </a:lnTo>
                  <a:lnTo>
                    <a:pt x="158" y="3467"/>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grpSp>
    </p:spTree>
    <p:extLst>
      <p:ext uri="{BB962C8B-B14F-4D97-AF65-F5344CB8AC3E}">
        <p14:creationId xmlns:p14="http://schemas.microsoft.com/office/powerpoint/2010/main" val="16897615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05">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gradFill flip="none" rotWithShape="1">
            <a:gsLst>
              <a:gs pos="100000">
                <a:schemeClr val="accent2"/>
              </a:gs>
              <a:gs pos="0">
                <a:schemeClr val="accent1"/>
              </a:gs>
              <a:gs pos="50000">
                <a:schemeClr val="accent3"/>
              </a:gs>
            </a:gsLst>
            <a:lin ang="2700000" scaled="1"/>
            <a:tileRect/>
          </a:gradFill>
        </p:spPr>
        <p:txBody>
          <a:bodyPr vert="horz" wrap="square" lIns="91440" tIns="45720" rIns="91440" bIns="45720" rtlCol="0" anchor="ctr">
            <a:noAutofit/>
          </a:bodyPr>
          <a:lstStyle>
            <a:lvl1pPr>
              <a:defRPr lang="en-GB" sz="2400" dirty="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pPr lvl="0" algn="ctr"/>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38">
            <a:extLst>
              <a:ext uri="{FF2B5EF4-FFF2-40B4-BE49-F238E27FC236}">
                <a16:creationId xmlns:a16="http://schemas.microsoft.com/office/drawing/2014/main" id="{3BF9A0A2-88F0-554E-A1CC-FA4F0250982C}"/>
              </a:ext>
            </a:extLst>
          </p:cNvPr>
          <p:cNvSpPr>
            <a:spLocks noGrp="1"/>
          </p:cNvSpPr>
          <p:nvPr>
            <p:ph type="body" sz="quarter" idx="15" hasCustomPrompt="1"/>
          </p:nvPr>
        </p:nvSpPr>
        <p:spPr>
          <a:xfrm>
            <a:off x="334841" y="3259225"/>
            <a:ext cx="11522320" cy="2604546"/>
          </a:xfrm>
        </p:spPr>
        <p:txBody>
          <a:bodyPr anchor="t">
            <a:normAutofit/>
          </a:bodyPr>
          <a:lstStyle>
            <a:lvl1pPr algn="l">
              <a:lnSpc>
                <a:spcPct val="80000"/>
              </a:lnSpc>
              <a:spcBef>
                <a:spcPts val="0"/>
              </a:spcBef>
              <a:defRPr lang="en-GB" sz="11000" b="0" i="0" kern="1200" cap="none" baseline="0" dirty="0">
                <a:solidFill>
                  <a:schemeClr val="bg1"/>
                </a:solidFill>
                <a:latin typeface="Oswald Light" pitchFamily="2" charset="77"/>
                <a:ea typeface="Arial" panose="020B0604020202020204" pitchFamily="34" charset="0"/>
                <a:cs typeface="Arial" panose="020B0604020202020204" pitchFamily="34" charset="0"/>
              </a:defRPr>
            </a:lvl1pPr>
          </a:lstStyle>
          <a:p>
            <a:pPr marL="0" marR="0" lvl="0" indent="0" algn="l" defTabSz="1219170" rtl="0" eaLnBrk="1" fontAlgn="auto" latinLnBrk="0" hangingPunct="1">
              <a:lnSpc>
                <a:spcPct val="80000"/>
              </a:lnSpc>
              <a:spcBef>
                <a:spcPts val="0"/>
              </a:spcBef>
              <a:spcAft>
                <a:spcPts val="0"/>
              </a:spcAft>
              <a:buClrTx/>
              <a:buSzTx/>
              <a:buFont typeface="Arial"/>
              <a:buNone/>
              <a:tabLst/>
            </a:pPr>
            <a:r>
              <a:rPr lang="en-GB" dirty="0"/>
              <a:t>Divider slide</a:t>
            </a:r>
          </a:p>
        </p:txBody>
      </p:sp>
      <p:sp>
        <p:nvSpPr>
          <p:cNvPr id="32" name="Text Placeholder 38">
            <a:extLst>
              <a:ext uri="{FF2B5EF4-FFF2-40B4-BE49-F238E27FC236}">
                <a16:creationId xmlns:a16="http://schemas.microsoft.com/office/drawing/2014/main" id="{139D9A37-0F8C-DD4E-A536-B7E0CF1E5BBA}"/>
              </a:ext>
            </a:extLst>
          </p:cNvPr>
          <p:cNvSpPr>
            <a:spLocks noGrp="1"/>
          </p:cNvSpPr>
          <p:nvPr>
            <p:ph type="body" sz="quarter" idx="13" hasCustomPrompt="1"/>
          </p:nvPr>
        </p:nvSpPr>
        <p:spPr>
          <a:xfrm>
            <a:off x="334840" y="620052"/>
            <a:ext cx="11522320" cy="2639173"/>
          </a:xfrm>
          <a:noFill/>
        </p:spPr>
        <p:txBody>
          <a:bodyPr anchor="b">
            <a:noAutofit/>
          </a:bodyPr>
          <a:lstStyle>
            <a:lvl1pPr algn="l">
              <a:spcBef>
                <a:spcPts val="0"/>
              </a:spcBef>
              <a:defRPr sz="15300" b="1" i="0" cap="all" baseline="0">
                <a:solidFill>
                  <a:schemeClr val="accent2"/>
                </a:solidFill>
                <a:latin typeface="Oswald Light" pitchFamily="2" charset="77"/>
              </a:defRPr>
            </a:lvl1pPr>
          </a:lstStyle>
          <a:p>
            <a:pPr lvl="0"/>
            <a:r>
              <a:rPr lang="en-GB" dirty="0"/>
              <a:t>05</a:t>
            </a:r>
          </a:p>
        </p:txBody>
      </p:sp>
      <p:sp>
        <p:nvSpPr>
          <p:cNvPr id="34" name="Text Placeholder 38">
            <a:extLst>
              <a:ext uri="{FF2B5EF4-FFF2-40B4-BE49-F238E27FC236}">
                <a16:creationId xmlns:a16="http://schemas.microsoft.com/office/drawing/2014/main" id="{EC29B1F2-A3E0-EE46-810D-04D9B1D59953}"/>
              </a:ext>
            </a:extLst>
          </p:cNvPr>
          <p:cNvSpPr>
            <a:spLocks noGrp="1"/>
          </p:cNvSpPr>
          <p:nvPr>
            <p:ph type="body" sz="quarter" idx="16" hasCustomPrompt="1"/>
          </p:nvPr>
        </p:nvSpPr>
        <p:spPr>
          <a:xfrm>
            <a:off x="334841" y="5863771"/>
            <a:ext cx="11522320" cy="380396"/>
          </a:xfrm>
        </p:spPr>
        <p:txBody>
          <a:bodyPr anchor="t">
            <a:noAutofit/>
          </a:bodyPr>
          <a:lstStyle>
            <a:lvl1pPr algn="l">
              <a:lnSpc>
                <a:spcPct val="90000"/>
              </a:lnSpc>
              <a:spcBef>
                <a:spcPts val="0"/>
              </a:spcBef>
              <a:defRPr lang="en-GB" sz="1600" b="0" i="0" kern="1200" cap="none" baseline="0" dirty="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1219170" rtl="0" eaLnBrk="1" latinLnBrk="0" hangingPunct="1">
              <a:lnSpc>
                <a:spcPct val="90000"/>
              </a:lnSpc>
              <a:spcBef>
                <a:spcPts val="0"/>
              </a:spcBef>
              <a:buFont typeface="Arial"/>
              <a:buNone/>
            </a:pPr>
            <a:r>
              <a:rPr lang="en-GB" dirty="0"/>
              <a:t>Sub point</a:t>
            </a:r>
          </a:p>
        </p:txBody>
      </p:sp>
    </p:spTree>
    <p:extLst>
      <p:ext uri="{BB962C8B-B14F-4D97-AF65-F5344CB8AC3E}">
        <p14:creationId xmlns:p14="http://schemas.microsoft.com/office/powerpoint/2010/main" val="42416733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2" name="Picture Placeholder 30">
            <a:extLst>
              <a:ext uri="{FF2B5EF4-FFF2-40B4-BE49-F238E27FC236}">
                <a16:creationId xmlns:a16="http://schemas.microsoft.com/office/drawing/2014/main" id="{E1E35307-E372-0144-8FAC-AC80A8DA13B3}"/>
              </a:ext>
            </a:extLst>
          </p:cNvPr>
          <p:cNvSpPr>
            <a:spLocks noGrp="1"/>
          </p:cNvSpPr>
          <p:nvPr>
            <p:ph type="pic" sz="quarter" idx="10"/>
          </p:nvPr>
        </p:nvSpPr>
        <p:spPr>
          <a:xfrm>
            <a:off x="0" y="-1015"/>
            <a:ext cx="3130552" cy="6859011"/>
          </a:xfrm>
          <a:prstGeom prst="rect">
            <a:avLst/>
          </a:prstGeom>
          <a:solidFill>
            <a:schemeClr val="tx2"/>
          </a:solidFill>
        </p:spPr>
        <p:txBody>
          <a:bodyPr wrap="square" anchor="t">
            <a:noAutofit/>
          </a:bodyPr>
          <a:lstStyle>
            <a:lvl1pPr marL="0" indent="0" algn="ctr">
              <a:buNone/>
              <a:defRPr sz="1600" b="0"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en-GB" dirty="0"/>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1" y="6537084"/>
            <a:ext cx="2698460" cy="227333"/>
          </a:xfrm>
        </p:spPr>
        <p:txBody>
          <a:bodyPr/>
          <a:lstStyle>
            <a:lvl1pPr>
              <a:defRPr>
                <a:solidFill>
                  <a:schemeClr val="bg1"/>
                </a:solidFill>
              </a:defRPr>
            </a:lvl1pPr>
          </a:lstStyle>
          <a:p>
            <a:endParaRPr lang="en-GB" dirty="0"/>
          </a:p>
        </p:txBody>
      </p:sp>
      <p:sp>
        <p:nvSpPr>
          <p:cNvPr id="30" name="Text Placeholder 6">
            <a:extLst>
              <a:ext uri="{FF2B5EF4-FFF2-40B4-BE49-F238E27FC236}">
                <a16:creationId xmlns:a16="http://schemas.microsoft.com/office/drawing/2014/main" id="{FE8B9BD2-8D43-AA4F-9513-5E8A89EA1977}"/>
              </a:ext>
            </a:extLst>
          </p:cNvPr>
          <p:cNvSpPr>
            <a:spLocks noGrp="1"/>
          </p:cNvSpPr>
          <p:nvPr>
            <p:ph type="body" sz="quarter" idx="13" hasCustomPrompt="1"/>
          </p:nvPr>
        </p:nvSpPr>
        <p:spPr>
          <a:xfrm>
            <a:off x="9061450" y="1773238"/>
            <a:ext cx="2668588" cy="1015663"/>
          </a:xfrm>
        </p:spPr>
        <p:txBody>
          <a:bodyPr>
            <a:noAutofit/>
          </a:bodyPr>
          <a:lstStyle>
            <a:lvl1pPr>
              <a:defRPr lang="en-US" sz="6000" b="0" i="0" kern="1200" spc="0" dirty="0">
                <a:solidFill>
                  <a:schemeClr val="tx2"/>
                </a:solidFill>
                <a:latin typeface="Oswald Light" pitchFamily="2" charset="77"/>
                <a:ea typeface="+mj-ea"/>
                <a:cs typeface="Arial Narrow" panose="020B0604020202020204" pitchFamily="34" charset="0"/>
              </a:defRPr>
            </a:lvl1pPr>
          </a:lstStyle>
          <a:p>
            <a:pPr lvl="0"/>
            <a:r>
              <a:rPr lang="en-US" dirty="0"/>
              <a:t>03</a:t>
            </a:r>
          </a:p>
        </p:txBody>
      </p:sp>
      <p:sp>
        <p:nvSpPr>
          <p:cNvPr id="31" name="Title 2">
            <a:extLst>
              <a:ext uri="{FF2B5EF4-FFF2-40B4-BE49-F238E27FC236}">
                <a16:creationId xmlns:a16="http://schemas.microsoft.com/office/drawing/2014/main" id="{4D9866F2-94D8-E04C-A43A-226E03A56398}"/>
              </a:ext>
            </a:extLst>
          </p:cNvPr>
          <p:cNvSpPr>
            <a:spLocks noGrp="1"/>
          </p:cNvSpPr>
          <p:nvPr>
            <p:ph type="title" hasCustomPrompt="1"/>
          </p:nvPr>
        </p:nvSpPr>
        <p:spPr>
          <a:xfrm>
            <a:off x="334842" y="1773238"/>
            <a:ext cx="2795709" cy="1015663"/>
          </a:xfrm>
        </p:spPr>
        <p:txBody>
          <a:bodyPr wrap="square" anchor="t">
            <a:spAutoFit/>
          </a:bodyPr>
          <a:lstStyle>
            <a:lvl1pPr>
              <a:defRPr sz="6000">
                <a:solidFill>
                  <a:schemeClr val="bg1"/>
                </a:solidFill>
              </a:defRPr>
            </a:lvl1pPr>
          </a:lstStyle>
          <a:p>
            <a:r>
              <a:rPr lang="en-US" dirty="0"/>
              <a:t>Agenda</a:t>
            </a:r>
            <a:endParaRPr lang="en-GB" dirty="0"/>
          </a:p>
        </p:txBody>
      </p:sp>
      <p:sp>
        <p:nvSpPr>
          <p:cNvPr id="33" name="Text Placeholder 6">
            <a:extLst>
              <a:ext uri="{FF2B5EF4-FFF2-40B4-BE49-F238E27FC236}">
                <a16:creationId xmlns:a16="http://schemas.microsoft.com/office/drawing/2014/main" id="{4C949887-2168-D64E-B346-014869D45503}"/>
              </a:ext>
            </a:extLst>
          </p:cNvPr>
          <p:cNvSpPr>
            <a:spLocks noGrp="1"/>
          </p:cNvSpPr>
          <p:nvPr>
            <p:ph type="body" sz="quarter" idx="15" hasCustomPrompt="1"/>
          </p:nvPr>
        </p:nvSpPr>
        <p:spPr>
          <a:xfrm>
            <a:off x="6209396" y="1773238"/>
            <a:ext cx="2648854" cy="1015663"/>
          </a:xfrm>
        </p:spPr>
        <p:txBody>
          <a:bodyPr>
            <a:noAutofit/>
          </a:bodyPr>
          <a:lstStyle>
            <a:lvl1pPr>
              <a:defRPr lang="en-US" sz="6000" b="0" i="0" kern="1200" spc="0" dirty="0">
                <a:solidFill>
                  <a:schemeClr val="tx2"/>
                </a:solidFill>
                <a:latin typeface="Oswald Light" pitchFamily="2" charset="77"/>
                <a:ea typeface="+mj-ea"/>
                <a:cs typeface="Arial Narrow" panose="020B0604020202020204" pitchFamily="34" charset="0"/>
              </a:defRPr>
            </a:lvl1pPr>
          </a:lstStyle>
          <a:p>
            <a:pPr lvl="0"/>
            <a:r>
              <a:rPr lang="en-US" dirty="0"/>
              <a:t>02</a:t>
            </a:r>
          </a:p>
        </p:txBody>
      </p:sp>
      <p:sp>
        <p:nvSpPr>
          <p:cNvPr id="36" name="Text Placeholder 6">
            <a:extLst>
              <a:ext uri="{FF2B5EF4-FFF2-40B4-BE49-F238E27FC236}">
                <a16:creationId xmlns:a16="http://schemas.microsoft.com/office/drawing/2014/main" id="{CBDB2630-987F-8241-8C06-D6985BC2E2A2}"/>
              </a:ext>
            </a:extLst>
          </p:cNvPr>
          <p:cNvSpPr>
            <a:spLocks noGrp="1"/>
          </p:cNvSpPr>
          <p:nvPr>
            <p:ph type="body" sz="quarter" idx="18" hasCustomPrompt="1"/>
          </p:nvPr>
        </p:nvSpPr>
        <p:spPr>
          <a:xfrm>
            <a:off x="3331024" y="1773238"/>
            <a:ext cx="2648854" cy="1015663"/>
          </a:xfrm>
        </p:spPr>
        <p:txBody>
          <a:bodyPr>
            <a:noAutofit/>
          </a:bodyPr>
          <a:lstStyle>
            <a:lvl1pPr>
              <a:defRPr lang="en-US" sz="6000" b="0" i="0" kern="1200" spc="0" dirty="0">
                <a:solidFill>
                  <a:schemeClr val="tx2"/>
                </a:solidFill>
                <a:latin typeface="Oswald Light" pitchFamily="2" charset="77"/>
                <a:ea typeface="+mj-ea"/>
                <a:cs typeface="Arial Narrow" panose="020B0604020202020204" pitchFamily="34" charset="0"/>
              </a:defRPr>
            </a:lvl1pPr>
          </a:lstStyle>
          <a:p>
            <a:pPr lvl="0"/>
            <a:r>
              <a:rPr lang="en-US" dirty="0"/>
              <a:t>01</a:t>
            </a:r>
          </a:p>
        </p:txBody>
      </p:sp>
      <p:sp>
        <p:nvSpPr>
          <p:cNvPr id="38" name="Text Placeholder 6">
            <a:extLst>
              <a:ext uri="{FF2B5EF4-FFF2-40B4-BE49-F238E27FC236}">
                <a16:creationId xmlns:a16="http://schemas.microsoft.com/office/drawing/2014/main" id="{D294F2AD-01B7-1B45-858D-BE110263D7C9}"/>
              </a:ext>
            </a:extLst>
          </p:cNvPr>
          <p:cNvSpPr>
            <a:spLocks noGrp="1"/>
          </p:cNvSpPr>
          <p:nvPr>
            <p:ph type="body" sz="quarter" idx="20"/>
          </p:nvPr>
        </p:nvSpPr>
        <p:spPr>
          <a:xfrm>
            <a:off x="9061450" y="2788901"/>
            <a:ext cx="2668588" cy="544975"/>
          </a:xfrm>
        </p:spPr>
        <p:txBody>
          <a:bodyPr/>
          <a:lstStyle/>
          <a:p>
            <a:pPr lvl="0"/>
            <a:r>
              <a:rPr lang="en-US"/>
              <a:t>Click to edit Master text styles</a:t>
            </a:r>
          </a:p>
        </p:txBody>
      </p:sp>
      <p:sp>
        <p:nvSpPr>
          <p:cNvPr id="39" name="Text Placeholder 6">
            <a:extLst>
              <a:ext uri="{FF2B5EF4-FFF2-40B4-BE49-F238E27FC236}">
                <a16:creationId xmlns:a16="http://schemas.microsoft.com/office/drawing/2014/main" id="{F8901A88-A705-BB49-93E6-EF4828CC6F5E}"/>
              </a:ext>
            </a:extLst>
          </p:cNvPr>
          <p:cNvSpPr>
            <a:spLocks noGrp="1"/>
          </p:cNvSpPr>
          <p:nvPr>
            <p:ph type="body" sz="quarter" idx="21"/>
          </p:nvPr>
        </p:nvSpPr>
        <p:spPr>
          <a:xfrm>
            <a:off x="6209396" y="2788901"/>
            <a:ext cx="2648854" cy="544975"/>
          </a:xfrm>
        </p:spPr>
        <p:txBody>
          <a:bodyPr/>
          <a:lstStyle/>
          <a:p>
            <a:pPr lvl="0"/>
            <a:r>
              <a:rPr lang="en-US"/>
              <a:t>Click to edit Master text styles</a:t>
            </a:r>
          </a:p>
        </p:txBody>
      </p:sp>
      <p:sp>
        <p:nvSpPr>
          <p:cNvPr id="40" name="Text Placeholder 6">
            <a:extLst>
              <a:ext uri="{FF2B5EF4-FFF2-40B4-BE49-F238E27FC236}">
                <a16:creationId xmlns:a16="http://schemas.microsoft.com/office/drawing/2014/main" id="{555FCCF9-0683-BC49-88BD-DC79A9A4BDF7}"/>
              </a:ext>
            </a:extLst>
          </p:cNvPr>
          <p:cNvSpPr>
            <a:spLocks noGrp="1"/>
          </p:cNvSpPr>
          <p:nvPr>
            <p:ph type="body" sz="quarter" idx="22"/>
          </p:nvPr>
        </p:nvSpPr>
        <p:spPr>
          <a:xfrm>
            <a:off x="3331024" y="2788901"/>
            <a:ext cx="2648854" cy="544975"/>
          </a:xfrm>
        </p:spPr>
        <p:txBody>
          <a:bodyPr/>
          <a:lstStyle/>
          <a:p>
            <a:pPr lvl="0"/>
            <a:r>
              <a:rPr lang="en-US"/>
              <a:t>Click to edit Master text styles</a:t>
            </a:r>
          </a:p>
        </p:txBody>
      </p:sp>
      <p:sp>
        <p:nvSpPr>
          <p:cNvPr id="41" name="Text Placeholder 6">
            <a:extLst>
              <a:ext uri="{FF2B5EF4-FFF2-40B4-BE49-F238E27FC236}">
                <a16:creationId xmlns:a16="http://schemas.microsoft.com/office/drawing/2014/main" id="{9A004C55-955C-2D4A-A69F-8BA4C1AF3AB8}"/>
              </a:ext>
            </a:extLst>
          </p:cNvPr>
          <p:cNvSpPr>
            <a:spLocks noGrp="1"/>
          </p:cNvSpPr>
          <p:nvPr>
            <p:ph type="body" sz="quarter" idx="23" hasCustomPrompt="1"/>
          </p:nvPr>
        </p:nvSpPr>
        <p:spPr>
          <a:xfrm>
            <a:off x="9061450" y="4069100"/>
            <a:ext cx="2668588" cy="1015663"/>
          </a:xfrm>
        </p:spPr>
        <p:txBody>
          <a:bodyPr>
            <a:noAutofit/>
          </a:bodyPr>
          <a:lstStyle>
            <a:lvl1pPr>
              <a:defRPr lang="en-US" sz="6000" b="0" i="0" kern="1200" spc="0" dirty="0">
                <a:solidFill>
                  <a:schemeClr val="tx2"/>
                </a:solidFill>
                <a:latin typeface="Oswald Light" pitchFamily="2" charset="77"/>
                <a:ea typeface="+mj-ea"/>
                <a:cs typeface="Arial Narrow" panose="020B0604020202020204" pitchFamily="34" charset="0"/>
              </a:defRPr>
            </a:lvl1pPr>
          </a:lstStyle>
          <a:p>
            <a:pPr lvl="0"/>
            <a:r>
              <a:rPr lang="en-US" dirty="0"/>
              <a:t>06</a:t>
            </a:r>
          </a:p>
        </p:txBody>
      </p:sp>
      <p:sp>
        <p:nvSpPr>
          <p:cNvPr id="42" name="Text Placeholder 6">
            <a:extLst>
              <a:ext uri="{FF2B5EF4-FFF2-40B4-BE49-F238E27FC236}">
                <a16:creationId xmlns:a16="http://schemas.microsoft.com/office/drawing/2014/main" id="{45D8FEBE-61EC-7247-98E5-EA1C81713BBD}"/>
              </a:ext>
            </a:extLst>
          </p:cNvPr>
          <p:cNvSpPr>
            <a:spLocks noGrp="1"/>
          </p:cNvSpPr>
          <p:nvPr>
            <p:ph type="body" sz="quarter" idx="24" hasCustomPrompt="1"/>
          </p:nvPr>
        </p:nvSpPr>
        <p:spPr>
          <a:xfrm>
            <a:off x="6209396" y="4069100"/>
            <a:ext cx="2648854" cy="1015663"/>
          </a:xfrm>
        </p:spPr>
        <p:txBody>
          <a:bodyPr>
            <a:noAutofit/>
          </a:bodyPr>
          <a:lstStyle>
            <a:lvl1pPr>
              <a:defRPr lang="en-US" sz="6000" b="0" i="0" kern="1200" spc="0" dirty="0">
                <a:solidFill>
                  <a:schemeClr val="tx2"/>
                </a:solidFill>
                <a:latin typeface="Oswald Light" pitchFamily="2" charset="77"/>
                <a:ea typeface="+mj-ea"/>
                <a:cs typeface="Arial Narrow" panose="020B0604020202020204" pitchFamily="34" charset="0"/>
              </a:defRPr>
            </a:lvl1pPr>
          </a:lstStyle>
          <a:p>
            <a:pPr lvl="0"/>
            <a:r>
              <a:rPr lang="en-US" dirty="0"/>
              <a:t>05</a:t>
            </a:r>
          </a:p>
        </p:txBody>
      </p:sp>
      <p:sp>
        <p:nvSpPr>
          <p:cNvPr id="43" name="Text Placeholder 6">
            <a:extLst>
              <a:ext uri="{FF2B5EF4-FFF2-40B4-BE49-F238E27FC236}">
                <a16:creationId xmlns:a16="http://schemas.microsoft.com/office/drawing/2014/main" id="{FA239652-9550-0D4E-95E5-4FF77C047328}"/>
              </a:ext>
            </a:extLst>
          </p:cNvPr>
          <p:cNvSpPr>
            <a:spLocks noGrp="1"/>
          </p:cNvSpPr>
          <p:nvPr>
            <p:ph type="body" sz="quarter" idx="25" hasCustomPrompt="1"/>
          </p:nvPr>
        </p:nvSpPr>
        <p:spPr>
          <a:xfrm>
            <a:off x="3331024" y="4069100"/>
            <a:ext cx="2648854" cy="1015663"/>
          </a:xfrm>
        </p:spPr>
        <p:txBody>
          <a:bodyPr>
            <a:noAutofit/>
          </a:bodyPr>
          <a:lstStyle>
            <a:lvl1pPr>
              <a:defRPr lang="en-US" sz="6000" b="0" i="0" kern="1200" spc="0" dirty="0">
                <a:solidFill>
                  <a:schemeClr val="tx2"/>
                </a:solidFill>
                <a:latin typeface="Oswald Light" pitchFamily="2" charset="77"/>
                <a:ea typeface="+mj-ea"/>
                <a:cs typeface="Arial Narrow" panose="020B0604020202020204" pitchFamily="34" charset="0"/>
              </a:defRPr>
            </a:lvl1pPr>
          </a:lstStyle>
          <a:p>
            <a:pPr lvl="0"/>
            <a:r>
              <a:rPr lang="en-US" dirty="0"/>
              <a:t>04</a:t>
            </a:r>
          </a:p>
        </p:txBody>
      </p:sp>
      <p:sp>
        <p:nvSpPr>
          <p:cNvPr id="44" name="Text Placeholder 6">
            <a:extLst>
              <a:ext uri="{FF2B5EF4-FFF2-40B4-BE49-F238E27FC236}">
                <a16:creationId xmlns:a16="http://schemas.microsoft.com/office/drawing/2014/main" id="{893F75B0-DEA6-264E-A8AD-3E12C9C25789}"/>
              </a:ext>
            </a:extLst>
          </p:cNvPr>
          <p:cNvSpPr>
            <a:spLocks noGrp="1"/>
          </p:cNvSpPr>
          <p:nvPr>
            <p:ph type="body" sz="quarter" idx="26"/>
          </p:nvPr>
        </p:nvSpPr>
        <p:spPr>
          <a:xfrm>
            <a:off x="9061450" y="5084763"/>
            <a:ext cx="2668588" cy="544975"/>
          </a:xfrm>
        </p:spPr>
        <p:txBody>
          <a:bodyPr/>
          <a:lstStyle/>
          <a:p>
            <a:pPr lvl="0"/>
            <a:r>
              <a:rPr lang="en-US"/>
              <a:t>Click to edit Master text styles</a:t>
            </a:r>
          </a:p>
        </p:txBody>
      </p:sp>
      <p:sp>
        <p:nvSpPr>
          <p:cNvPr id="45" name="Text Placeholder 6">
            <a:extLst>
              <a:ext uri="{FF2B5EF4-FFF2-40B4-BE49-F238E27FC236}">
                <a16:creationId xmlns:a16="http://schemas.microsoft.com/office/drawing/2014/main" id="{9A2989BD-B662-C642-A8CA-C72751B67E1D}"/>
              </a:ext>
            </a:extLst>
          </p:cNvPr>
          <p:cNvSpPr>
            <a:spLocks noGrp="1"/>
          </p:cNvSpPr>
          <p:nvPr>
            <p:ph type="body" sz="quarter" idx="27"/>
          </p:nvPr>
        </p:nvSpPr>
        <p:spPr>
          <a:xfrm>
            <a:off x="6209396" y="5084763"/>
            <a:ext cx="2648854" cy="544975"/>
          </a:xfrm>
        </p:spPr>
        <p:txBody>
          <a:bodyPr/>
          <a:lstStyle/>
          <a:p>
            <a:pPr lvl="0"/>
            <a:r>
              <a:rPr lang="en-US"/>
              <a:t>Click to edit Master text styles</a:t>
            </a:r>
          </a:p>
        </p:txBody>
      </p:sp>
      <p:sp>
        <p:nvSpPr>
          <p:cNvPr id="46" name="Text Placeholder 6">
            <a:extLst>
              <a:ext uri="{FF2B5EF4-FFF2-40B4-BE49-F238E27FC236}">
                <a16:creationId xmlns:a16="http://schemas.microsoft.com/office/drawing/2014/main" id="{E2E6F023-70A1-2E45-A43E-6DA45B0049D8}"/>
              </a:ext>
            </a:extLst>
          </p:cNvPr>
          <p:cNvSpPr>
            <a:spLocks noGrp="1"/>
          </p:cNvSpPr>
          <p:nvPr>
            <p:ph type="body" sz="quarter" idx="28"/>
          </p:nvPr>
        </p:nvSpPr>
        <p:spPr>
          <a:xfrm>
            <a:off x="3331024" y="5084763"/>
            <a:ext cx="2648854" cy="544975"/>
          </a:xfrm>
        </p:spPr>
        <p:txBody>
          <a:bodyPr/>
          <a:lstStyle/>
          <a:p>
            <a:pPr lvl="0"/>
            <a:r>
              <a:rPr lang="en-US"/>
              <a:t>Click to edit Master text styles</a:t>
            </a:r>
          </a:p>
        </p:txBody>
      </p:sp>
      <p:sp>
        <p:nvSpPr>
          <p:cNvPr id="6" name="Content Placeholder 5">
            <a:extLst>
              <a:ext uri="{FF2B5EF4-FFF2-40B4-BE49-F238E27FC236}">
                <a16:creationId xmlns:a16="http://schemas.microsoft.com/office/drawing/2014/main" id="{FE9AFCEA-C209-B445-BB82-06BC1DB272EA}"/>
              </a:ext>
            </a:extLst>
          </p:cNvPr>
          <p:cNvSpPr>
            <a:spLocks noGrp="1"/>
          </p:cNvSpPr>
          <p:nvPr>
            <p:ph sz="quarter" idx="29" hasCustomPrompt="1"/>
          </p:nvPr>
        </p:nvSpPr>
        <p:spPr>
          <a:xfrm>
            <a:off x="3413274" y="2740720"/>
            <a:ext cx="2653200" cy="7200"/>
          </a:xfrm>
          <a:solidFill>
            <a:schemeClr val="accent3"/>
          </a:solidFill>
        </p:spPr>
        <p:txBody>
          <a:bodyPr/>
          <a:lstStyle/>
          <a:p>
            <a:pPr lvl="0"/>
            <a:r>
              <a:rPr lang="en-GB" dirty="0"/>
              <a:t> </a:t>
            </a:r>
            <a:endParaRPr lang="en-US" dirty="0"/>
          </a:p>
        </p:txBody>
      </p:sp>
      <p:sp>
        <p:nvSpPr>
          <p:cNvPr id="55" name="Content Placeholder 5">
            <a:extLst>
              <a:ext uri="{FF2B5EF4-FFF2-40B4-BE49-F238E27FC236}">
                <a16:creationId xmlns:a16="http://schemas.microsoft.com/office/drawing/2014/main" id="{F64E45CC-339A-2144-8C55-3776433D7014}"/>
              </a:ext>
            </a:extLst>
          </p:cNvPr>
          <p:cNvSpPr>
            <a:spLocks noGrp="1"/>
          </p:cNvSpPr>
          <p:nvPr>
            <p:ph sz="quarter" idx="30" hasCustomPrompt="1"/>
          </p:nvPr>
        </p:nvSpPr>
        <p:spPr>
          <a:xfrm>
            <a:off x="6330645" y="2740720"/>
            <a:ext cx="2653200" cy="7200"/>
          </a:xfrm>
          <a:solidFill>
            <a:schemeClr val="accent3"/>
          </a:solidFill>
        </p:spPr>
        <p:txBody>
          <a:bodyPr/>
          <a:lstStyle/>
          <a:p>
            <a:pPr lvl="0"/>
            <a:r>
              <a:rPr lang="en-GB" dirty="0"/>
              <a:t> </a:t>
            </a:r>
            <a:endParaRPr lang="en-US" dirty="0"/>
          </a:p>
        </p:txBody>
      </p:sp>
      <p:sp>
        <p:nvSpPr>
          <p:cNvPr id="57" name="Content Placeholder 5">
            <a:extLst>
              <a:ext uri="{FF2B5EF4-FFF2-40B4-BE49-F238E27FC236}">
                <a16:creationId xmlns:a16="http://schemas.microsoft.com/office/drawing/2014/main" id="{DDBDDFA4-F6FE-A74D-AB34-2330FE591B82}"/>
              </a:ext>
            </a:extLst>
          </p:cNvPr>
          <p:cNvSpPr>
            <a:spLocks noGrp="1"/>
          </p:cNvSpPr>
          <p:nvPr>
            <p:ph sz="quarter" idx="31" hasCustomPrompt="1"/>
          </p:nvPr>
        </p:nvSpPr>
        <p:spPr>
          <a:xfrm>
            <a:off x="9139159" y="2740720"/>
            <a:ext cx="2653200" cy="7200"/>
          </a:xfrm>
          <a:solidFill>
            <a:schemeClr val="accent3"/>
          </a:solidFill>
        </p:spPr>
        <p:txBody>
          <a:bodyPr/>
          <a:lstStyle/>
          <a:p>
            <a:pPr lvl="0"/>
            <a:r>
              <a:rPr lang="en-GB" dirty="0"/>
              <a:t> </a:t>
            </a:r>
            <a:endParaRPr lang="en-US" dirty="0"/>
          </a:p>
        </p:txBody>
      </p:sp>
      <p:sp>
        <p:nvSpPr>
          <p:cNvPr id="58" name="Content Placeholder 5">
            <a:extLst>
              <a:ext uri="{FF2B5EF4-FFF2-40B4-BE49-F238E27FC236}">
                <a16:creationId xmlns:a16="http://schemas.microsoft.com/office/drawing/2014/main" id="{39F857DD-B6C6-CE47-BB8D-89FD02C1CA03}"/>
              </a:ext>
            </a:extLst>
          </p:cNvPr>
          <p:cNvSpPr>
            <a:spLocks noGrp="1"/>
          </p:cNvSpPr>
          <p:nvPr>
            <p:ph sz="quarter" idx="32" hasCustomPrompt="1"/>
          </p:nvPr>
        </p:nvSpPr>
        <p:spPr>
          <a:xfrm>
            <a:off x="3413274" y="5037609"/>
            <a:ext cx="2653200" cy="7200"/>
          </a:xfrm>
          <a:solidFill>
            <a:schemeClr val="accent3"/>
          </a:solidFill>
        </p:spPr>
        <p:txBody>
          <a:bodyPr/>
          <a:lstStyle/>
          <a:p>
            <a:pPr lvl="0"/>
            <a:r>
              <a:rPr lang="en-GB" dirty="0"/>
              <a:t> </a:t>
            </a:r>
            <a:endParaRPr lang="en-US" dirty="0"/>
          </a:p>
        </p:txBody>
      </p:sp>
      <p:sp>
        <p:nvSpPr>
          <p:cNvPr id="59" name="Content Placeholder 5">
            <a:extLst>
              <a:ext uri="{FF2B5EF4-FFF2-40B4-BE49-F238E27FC236}">
                <a16:creationId xmlns:a16="http://schemas.microsoft.com/office/drawing/2014/main" id="{7EFC4B91-1B55-0541-83BB-DB181A11475D}"/>
              </a:ext>
            </a:extLst>
          </p:cNvPr>
          <p:cNvSpPr>
            <a:spLocks noGrp="1"/>
          </p:cNvSpPr>
          <p:nvPr>
            <p:ph sz="quarter" idx="33" hasCustomPrompt="1"/>
          </p:nvPr>
        </p:nvSpPr>
        <p:spPr>
          <a:xfrm>
            <a:off x="6330645" y="5037609"/>
            <a:ext cx="2653200" cy="7200"/>
          </a:xfrm>
          <a:solidFill>
            <a:schemeClr val="accent3"/>
          </a:solidFill>
        </p:spPr>
        <p:txBody>
          <a:bodyPr/>
          <a:lstStyle/>
          <a:p>
            <a:pPr lvl="0"/>
            <a:r>
              <a:rPr lang="en-GB" dirty="0"/>
              <a:t> </a:t>
            </a:r>
            <a:endParaRPr lang="en-US" dirty="0"/>
          </a:p>
        </p:txBody>
      </p:sp>
      <p:sp>
        <p:nvSpPr>
          <p:cNvPr id="60" name="Content Placeholder 5">
            <a:extLst>
              <a:ext uri="{FF2B5EF4-FFF2-40B4-BE49-F238E27FC236}">
                <a16:creationId xmlns:a16="http://schemas.microsoft.com/office/drawing/2014/main" id="{ED530B62-13D5-374A-B11F-991484320103}"/>
              </a:ext>
            </a:extLst>
          </p:cNvPr>
          <p:cNvSpPr>
            <a:spLocks noGrp="1"/>
          </p:cNvSpPr>
          <p:nvPr>
            <p:ph sz="quarter" idx="34" hasCustomPrompt="1"/>
          </p:nvPr>
        </p:nvSpPr>
        <p:spPr>
          <a:xfrm>
            <a:off x="9139159" y="5037609"/>
            <a:ext cx="2653200" cy="7200"/>
          </a:xfrm>
          <a:solidFill>
            <a:schemeClr val="accent3"/>
          </a:solidFill>
        </p:spPr>
        <p:txBody>
          <a:bodyPr/>
          <a:lstStyle/>
          <a:p>
            <a:pPr lvl="0"/>
            <a:r>
              <a:rPr lang="en-GB" dirty="0"/>
              <a:t> </a:t>
            </a:r>
            <a:endParaRPr lang="en-US" dirty="0"/>
          </a:p>
        </p:txBody>
      </p:sp>
    </p:spTree>
    <p:extLst>
      <p:ext uri="{BB962C8B-B14F-4D97-AF65-F5344CB8AC3E}">
        <p14:creationId xmlns:p14="http://schemas.microsoft.com/office/powerpoint/2010/main" val="27417249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Slide – Title and Content">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dirty="0"/>
          </a:p>
        </p:txBody>
      </p:sp>
      <p:sp>
        <p:nvSpPr>
          <p:cNvPr id="30" name="Text Placeholder 6">
            <a:extLst>
              <a:ext uri="{FF2B5EF4-FFF2-40B4-BE49-F238E27FC236}">
                <a16:creationId xmlns:a16="http://schemas.microsoft.com/office/drawing/2014/main" id="{FE8B9BD2-8D43-AA4F-9513-5E8A89EA1977}"/>
              </a:ext>
            </a:extLst>
          </p:cNvPr>
          <p:cNvSpPr>
            <a:spLocks noGrp="1"/>
          </p:cNvSpPr>
          <p:nvPr>
            <p:ph type="body" sz="quarter" idx="13"/>
          </p:nvPr>
        </p:nvSpPr>
        <p:spPr>
          <a:xfrm>
            <a:off x="334434" y="1623820"/>
            <a:ext cx="11522726" cy="4555723"/>
          </a:xfrm>
        </p:spPr>
        <p:txBody>
          <a:bodyPr/>
          <a:lstStyle/>
          <a:p>
            <a:pPr lvl="0"/>
            <a:r>
              <a:rPr lang="en-US"/>
              <a:t>Click to edit Master text styles</a:t>
            </a:r>
          </a:p>
        </p:txBody>
      </p:sp>
      <p:sp>
        <p:nvSpPr>
          <p:cNvPr id="31" name="Title 2">
            <a:extLst>
              <a:ext uri="{FF2B5EF4-FFF2-40B4-BE49-F238E27FC236}">
                <a16:creationId xmlns:a16="http://schemas.microsoft.com/office/drawing/2014/main" id="{4D9866F2-94D8-E04C-A43A-226E03A56398}"/>
              </a:ext>
            </a:extLst>
          </p:cNvPr>
          <p:cNvSpPr>
            <a:spLocks noGrp="1"/>
          </p:cNvSpPr>
          <p:nvPr>
            <p:ph type="title" hasCustomPrompt="1"/>
          </p:nvPr>
        </p:nvSpPr>
        <p:spPr>
          <a:xfrm>
            <a:off x="334841" y="300381"/>
            <a:ext cx="11522319" cy="1323439"/>
          </a:xfrm>
        </p:spPr>
        <p:txBody>
          <a:bodyPr anchor="t">
            <a:spAutoFit/>
          </a:bodyPr>
          <a:lstStyle>
            <a:lvl1pPr>
              <a:defRPr/>
            </a:lvl1pPr>
          </a:lstStyle>
          <a:p>
            <a:r>
              <a:rPr lang="en-US" dirty="0"/>
              <a:t>Click to edit Master title style</a:t>
            </a:r>
            <a:br>
              <a:rPr lang="en-US" dirty="0"/>
            </a:br>
            <a:r>
              <a:rPr lang="en-US" dirty="0"/>
              <a:t>Click to edit Master title style</a:t>
            </a:r>
            <a:endParaRPr lang="en-GB" dirty="0"/>
          </a:p>
        </p:txBody>
      </p:sp>
    </p:spTree>
    <p:extLst>
      <p:ext uri="{BB962C8B-B14F-4D97-AF65-F5344CB8AC3E}">
        <p14:creationId xmlns:p14="http://schemas.microsoft.com/office/powerpoint/2010/main" val="28458043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asic Slide – Title">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3" name="Title 2">
            <a:extLst>
              <a:ext uri="{FF2B5EF4-FFF2-40B4-BE49-F238E27FC236}">
                <a16:creationId xmlns:a16="http://schemas.microsoft.com/office/drawing/2014/main" id="{CF2CD0E5-F646-A744-B332-C9AD879E140E}"/>
              </a:ext>
            </a:extLst>
          </p:cNvPr>
          <p:cNvSpPr>
            <a:spLocks noGrp="1"/>
          </p:cNvSpPr>
          <p:nvPr>
            <p:ph type="title" hasCustomPrompt="1"/>
          </p:nvPr>
        </p:nvSpPr>
        <p:spPr>
          <a:xfrm>
            <a:off x="334841" y="300381"/>
            <a:ext cx="11522319" cy="1323439"/>
          </a:xfrm>
        </p:spPr>
        <p:txBody>
          <a:bodyPr>
            <a:spAutoFit/>
          </a:bodyPr>
          <a:lstStyle>
            <a:lvl1pPr>
              <a:defRPr/>
            </a:lvl1pPr>
          </a:lstStyle>
          <a:p>
            <a:r>
              <a:rPr lang="en-US" dirty="0"/>
              <a:t>Click to edit Master title style</a:t>
            </a:r>
            <a:br>
              <a:rPr lang="en-US" dirty="0"/>
            </a:br>
            <a:r>
              <a:rPr lang="en-US" dirty="0"/>
              <a:t>Click to edit Master title style</a:t>
            </a:r>
            <a:endParaRPr lang="en-GB" dirty="0"/>
          </a:p>
        </p:txBody>
      </p:sp>
    </p:spTree>
    <p:extLst>
      <p:ext uri="{BB962C8B-B14F-4D97-AF65-F5344CB8AC3E}">
        <p14:creationId xmlns:p14="http://schemas.microsoft.com/office/powerpoint/2010/main" val="214057046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334840" y="1387711"/>
            <a:ext cx="11521160" cy="4854680"/>
          </a:xfrm>
          <a:prstGeom prst="rect">
            <a:avLst/>
          </a:prstGeom>
        </p:spPr>
        <p:txBody>
          <a:bodyPr vert="horz" lIns="91440" tIns="45720" rIns="91440" bIns="45720" rtlCol="0">
            <a:normAutofit/>
          </a:bodyPr>
          <a:lstStyle/>
          <a:p>
            <a:pPr lvl="0"/>
            <a:r>
              <a:rPr lang="en-US" dirty="0"/>
              <a:t>Edit Master text styles</a:t>
            </a:r>
          </a:p>
        </p:txBody>
      </p:sp>
      <p:sp>
        <p:nvSpPr>
          <p:cNvPr id="2" name="Title Placeholder 1"/>
          <p:cNvSpPr>
            <a:spLocks noGrp="1"/>
          </p:cNvSpPr>
          <p:nvPr>
            <p:ph type="title"/>
          </p:nvPr>
        </p:nvSpPr>
        <p:spPr>
          <a:xfrm>
            <a:off x="334841" y="300381"/>
            <a:ext cx="11521159" cy="1085553"/>
          </a:xfrm>
          <a:prstGeom prst="rect">
            <a:avLst/>
          </a:prstGeom>
        </p:spPr>
        <p:txBody>
          <a:bodyPr vert="horz" lIns="91440" tIns="45720" rIns="91440" bIns="45720" rtlCol="0" anchor="t">
            <a:normAutofit/>
          </a:bodyPr>
          <a:lstStyle/>
          <a:p>
            <a:r>
              <a:rPr lang="en-US"/>
              <a:t>Click to edit Master title style</a:t>
            </a:r>
            <a:endParaRPr lang="en-GB" dirty="0"/>
          </a:p>
        </p:txBody>
      </p:sp>
      <p:sp>
        <p:nvSpPr>
          <p:cNvPr id="6" name="Footer Placeholder 5"/>
          <p:cNvSpPr>
            <a:spLocks noGrp="1"/>
          </p:cNvSpPr>
          <p:nvPr>
            <p:ph type="ftr" sz="quarter" idx="3"/>
          </p:nvPr>
        </p:nvSpPr>
        <p:spPr>
          <a:xfrm>
            <a:off x="334840" y="6244168"/>
            <a:ext cx="5653211" cy="431801"/>
          </a:xfrm>
          <a:prstGeom prst="rect">
            <a:avLst/>
          </a:prstGeom>
        </p:spPr>
        <p:txBody>
          <a:bodyPr vert="horz" lIns="91440" tIns="45720" rIns="91440" bIns="45720" rtlCol="0" anchor="b"/>
          <a:lstStyle>
            <a:lvl1pPr algn="l">
              <a:defRPr sz="800" b="0" i="0">
                <a:solidFill>
                  <a:schemeClr val="tx1"/>
                </a:solidFill>
                <a:latin typeface="+mn-lt"/>
                <a:ea typeface="Arial Narrow" panose="020B0604020202020204" pitchFamily="34" charset="0"/>
                <a:cs typeface="Arial Narrow" panose="020B0604020202020204" pitchFamily="34" charset="0"/>
              </a:defRPr>
            </a:lvl1pPr>
          </a:lstStyle>
          <a:p>
            <a:endParaRPr lang="en-GB" dirty="0"/>
          </a:p>
        </p:txBody>
      </p:sp>
      <p:grpSp>
        <p:nvGrpSpPr>
          <p:cNvPr id="16" name="Graphic 7">
            <a:extLst>
              <a:ext uri="{FF2B5EF4-FFF2-40B4-BE49-F238E27FC236}">
                <a16:creationId xmlns:a16="http://schemas.microsoft.com/office/drawing/2014/main" id="{5E4D6BDD-7751-EA48-BA2D-9C4012045E8B}"/>
              </a:ext>
            </a:extLst>
          </p:cNvPr>
          <p:cNvGrpSpPr/>
          <p:nvPr userDrawn="1"/>
        </p:nvGrpSpPr>
        <p:grpSpPr>
          <a:xfrm>
            <a:off x="6193214" y="6534050"/>
            <a:ext cx="425190" cy="173142"/>
            <a:chOff x="3536950" y="2387600"/>
            <a:chExt cx="5122476" cy="2085938"/>
          </a:xfrm>
        </p:grpSpPr>
        <p:sp>
          <p:nvSpPr>
            <p:cNvPr id="17" name="Freeform 16">
              <a:extLst>
                <a:ext uri="{FF2B5EF4-FFF2-40B4-BE49-F238E27FC236}">
                  <a16:creationId xmlns:a16="http://schemas.microsoft.com/office/drawing/2014/main" id="{CEAB3D10-88BC-1949-8B76-2BE787B52690}"/>
                </a:ext>
              </a:extLst>
            </p:cNvPr>
            <p:cNvSpPr/>
            <p:nvPr/>
          </p:nvSpPr>
          <p:spPr>
            <a:xfrm>
              <a:off x="3536950" y="2387695"/>
              <a:ext cx="1519733" cy="2085843"/>
            </a:xfrm>
            <a:custGeom>
              <a:avLst/>
              <a:gdLst>
                <a:gd name="connsiteX0" fmla="*/ 1043122 w 1519733"/>
                <a:gd name="connsiteY0" fmla="*/ 0 h 2085843"/>
                <a:gd name="connsiteX1" fmla="*/ 759914 w 1519733"/>
                <a:gd name="connsiteY1" fmla="*/ 1185199 h 2085843"/>
                <a:gd name="connsiteX2" fmla="*/ 494496 w 1519733"/>
                <a:gd name="connsiteY2" fmla="*/ 0 h 2085843"/>
                <a:gd name="connsiteX3" fmla="*/ 0 w 1519733"/>
                <a:gd name="connsiteY3" fmla="*/ 0 h 2085843"/>
                <a:gd name="connsiteX4" fmla="*/ 0 w 1519733"/>
                <a:gd name="connsiteY4" fmla="*/ 2085843 h 2085843"/>
                <a:gd name="connsiteX5" fmla="*/ 332201 w 1519733"/>
                <a:gd name="connsiteY5" fmla="*/ 2085843 h 2085843"/>
                <a:gd name="connsiteX6" fmla="*/ 327064 w 1519733"/>
                <a:gd name="connsiteY6" fmla="*/ 772443 h 2085843"/>
                <a:gd name="connsiteX7" fmla="*/ 663165 w 1519733"/>
                <a:gd name="connsiteY7" fmla="*/ 2085843 h 2085843"/>
                <a:gd name="connsiteX8" fmla="*/ 869411 w 1519733"/>
                <a:gd name="connsiteY8" fmla="*/ 2085843 h 2085843"/>
                <a:gd name="connsiteX9" fmla="*/ 1190006 w 1519733"/>
                <a:gd name="connsiteY9" fmla="*/ 782809 h 2085843"/>
                <a:gd name="connsiteX10" fmla="*/ 1192574 w 1519733"/>
                <a:gd name="connsiteY10" fmla="*/ 2085843 h 2085843"/>
                <a:gd name="connsiteX11" fmla="*/ 1519733 w 1519733"/>
                <a:gd name="connsiteY11" fmla="*/ 2085843 h 2085843"/>
                <a:gd name="connsiteX12" fmla="*/ 1519733 w 1519733"/>
                <a:gd name="connsiteY12" fmla="*/ 0 h 2085843"/>
                <a:gd name="connsiteX13" fmla="*/ 1043122 w 1519733"/>
                <a:gd name="connsiteY13" fmla="*/ 0 h 2085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9733" h="2085843">
                  <a:moveTo>
                    <a:pt x="1043122" y="0"/>
                  </a:moveTo>
                  <a:lnTo>
                    <a:pt x="759914" y="1185199"/>
                  </a:lnTo>
                  <a:lnTo>
                    <a:pt x="494496" y="0"/>
                  </a:lnTo>
                  <a:lnTo>
                    <a:pt x="0" y="0"/>
                  </a:lnTo>
                  <a:lnTo>
                    <a:pt x="0" y="2085843"/>
                  </a:lnTo>
                  <a:lnTo>
                    <a:pt x="332201" y="2085843"/>
                  </a:lnTo>
                  <a:lnTo>
                    <a:pt x="327064" y="772443"/>
                  </a:lnTo>
                  <a:lnTo>
                    <a:pt x="663165" y="2085843"/>
                  </a:lnTo>
                  <a:lnTo>
                    <a:pt x="869411" y="2085843"/>
                  </a:lnTo>
                  <a:lnTo>
                    <a:pt x="1190006" y="782809"/>
                  </a:lnTo>
                  <a:lnTo>
                    <a:pt x="1192574" y="2085843"/>
                  </a:lnTo>
                  <a:lnTo>
                    <a:pt x="1519733" y="2085843"/>
                  </a:lnTo>
                  <a:lnTo>
                    <a:pt x="1519733" y="0"/>
                  </a:lnTo>
                  <a:lnTo>
                    <a:pt x="1043122" y="0"/>
                  </a:lnTo>
                  <a:close/>
                </a:path>
              </a:pathLst>
            </a:custGeom>
            <a:solidFill>
              <a:srgbClr val="504F4F"/>
            </a:solidFill>
            <a:ln w="950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158B1095-6594-B544-A482-22CF507FB3F3}"/>
                </a:ext>
              </a:extLst>
            </p:cNvPr>
            <p:cNvSpPr/>
            <p:nvPr/>
          </p:nvSpPr>
          <p:spPr>
            <a:xfrm>
              <a:off x="5211748" y="2387600"/>
              <a:ext cx="1205797" cy="2085938"/>
            </a:xfrm>
            <a:custGeom>
              <a:avLst/>
              <a:gdLst>
                <a:gd name="connsiteX0" fmla="*/ 619214 w 1205797"/>
                <a:gd name="connsiteY0" fmla="*/ 1268226 h 2085938"/>
                <a:gd name="connsiteX1" fmla="*/ 802248 w 1205797"/>
                <a:gd name="connsiteY1" fmla="*/ 1268226 h 2085938"/>
                <a:gd name="connsiteX2" fmla="*/ 802248 w 1205797"/>
                <a:gd name="connsiteY2" fmla="*/ 1505988 h 2085938"/>
                <a:gd name="connsiteX3" fmla="*/ 626729 w 1205797"/>
                <a:gd name="connsiteY3" fmla="*/ 1769239 h 2085938"/>
                <a:gd name="connsiteX4" fmla="*/ 495162 w 1205797"/>
                <a:gd name="connsiteY4" fmla="*/ 1700288 h 2085938"/>
                <a:gd name="connsiteX5" fmla="*/ 458821 w 1205797"/>
                <a:gd name="connsiteY5" fmla="*/ 1511029 h 2085938"/>
                <a:gd name="connsiteX6" fmla="*/ 458821 w 1205797"/>
                <a:gd name="connsiteY6" fmla="*/ 571391 h 2085938"/>
                <a:gd name="connsiteX7" fmla="*/ 487361 w 1205797"/>
                <a:gd name="connsiteY7" fmla="*/ 383463 h 2085938"/>
                <a:gd name="connsiteX8" fmla="*/ 613887 w 1205797"/>
                <a:gd name="connsiteY8" fmla="*/ 315844 h 2085938"/>
                <a:gd name="connsiteX9" fmla="*/ 736797 w 1205797"/>
                <a:gd name="connsiteY9" fmla="*/ 377187 h 2085938"/>
                <a:gd name="connsiteX10" fmla="*/ 764385 w 1205797"/>
                <a:gd name="connsiteY10" fmla="*/ 558932 h 2085938"/>
                <a:gd name="connsiteX11" fmla="*/ 764385 w 1205797"/>
                <a:gd name="connsiteY11" fmla="*/ 752851 h 2085938"/>
                <a:gd name="connsiteX12" fmla="*/ 1203134 w 1205797"/>
                <a:gd name="connsiteY12" fmla="*/ 752851 h 2085938"/>
                <a:gd name="connsiteX13" fmla="*/ 1203134 w 1205797"/>
                <a:gd name="connsiteY13" fmla="*/ 594026 h 2085938"/>
                <a:gd name="connsiteX14" fmla="*/ 1065193 w 1205797"/>
                <a:gd name="connsiteY14" fmla="*/ 155402 h 2085938"/>
                <a:gd name="connsiteX15" fmla="*/ 609225 w 1205797"/>
                <a:gd name="connsiteY15" fmla="*/ 0 h 2085938"/>
                <a:gd name="connsiteX16" fmla="*/ 139178 w 1205797"/>
                <a:gd name="connsiteY16" fmla="*/ 180700 h 2085938"/>
                <a:gd name="connsiteX17" fmla="*/ 0 w 1205797"/>
                <a:gd name="connsiteY17" fmla="*/ 704253 h 2085938"/>
                <a:gd name="connsiteX18" fmla="*/ 0 w 1205797"/>
                <a:gd name="connsiteY18" fmla="*/ 1385966 h 2085938"/>
                <a:gd name="connsiteX19" fmla="*/ 127952 w 1205797"/>
                <a:gd name="connsiteY19" fmla="*/ 1903052 h 2085938"/>
                <a:gd name="connsiteX20" fmla="*/ 556522 w 1205797"/>
                <a:gd name="connsiteY20" fmla="*/ 2085939 h 2085938"/>
                <a:gd name="connsiteX21" fmla="*/ 885013 w 1205797"/>
                <a:gd name="connsiteY21" fmla="*/ 1887930 h 2085938"/>
                <a:gd name="connsiteX22" fmla="*/ 910032 w 1205797"/>
                <a:gd name="connsiteY22" fmla="*/ 2085939 h 2085938"/>
                <a:gd name="connsiteX23" fmla="*/ 1205798 w 1205797"/>
                <a:gd name="connsiteY23" fmla="*/ 2085939 h 2085938"/>
                <a:gd name="connsiteX24" fmla="*/ 1205798 w 1205797"/>
                <a:gd name="connsiteY24" fmla="*/ 1004975 h 2085938"/>
                <a:gd name="connsiteX25" fmla="*/ 619214 w 1205797"/>
                <a:gd name="connsiteY25" fmla="*/ 1004975 h 208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05797" h="2085938">
                  <a:moveTo>
                    <a:pt x="619214" y="1268226"/>
                  </a:moveTo>
                  <a:lnTo>
                    <a:pt x="802248" y="1268226"/>
                  </a:lnTo>
                  <a:lnTo>
                    <a:pt x="802248" y="1505988"/>
                  </a:lnTo>
                  <a:cubicBezTo>
                    <a:pt x="802248" y="1681552"/>
                    <a:pt x="743742" y="1769302"/>
                    <a:pt x="626729" y="1769239"/>
                  </a:cubicBezTo>
                  <a:cubicBezTo>
                    <a:pt x="563308" y="1769239"/>
                    <a:pt x="519452" y="1746255"/>
                    <a:pt x="495162" y="1700288"/>
                  </a:cubicBezTo>
                  <a:cubicBezTo>
                    <a:pt x="470903" y="1654257"/>
                    <a:pt x="458821" y="1591297"/>
                    <a:pt x="458821" y="1511029"/>
                  </a:cubicBezTo>
                  <a:lnTo>
                    <a:pt x="458821" y="571391"/>
                  </a:lnTo>
                  <a:cubicBezTo>
                    <a:pt x="458821" y="491249"/>
                    <a:pt x="468335" y="428607"/>
                    <a:pt x="487361" y="383463"/>
                  </a:cubicBezTo>
                  <a:cubicBezTo>
                    <a:pt x="506387" y="338320"/>
                    <a:pt x="548563" y="315780"/>
                    <a:pt x="613887" y="315844"/>
                  </a:cubicBezTo>
                  <a:cubicBezTo>
                    <a:pt x="677308" y="315844"/>
                    <a:pt x="718278" y="336291"/>
                    <a:pt x="736797" y="377187"/>
                  </a:cubicBezTo>
                  <a:cubicBezTo>
                    <a:pt x="755316" y="418082"/>
                    <a:pt x="764512" y="478664"/>
                    <a:pt x="764385" y="558932"/>
                  </a:cubicBezTo>
                  <a:lnTo>
                    <a:pt x="764385" y="752851"/>
                  </a:lnTo>
                  <a:lnTo>
                    <a:pt x="1203134" y="752851"/>
                  </a:lnTo>
                  <a:lnTo>
                    <a:pt x="1203134" y="594026"/>
                  </a:lnTo>
                  <a:cubicBezTo>
                    <a:pt x="1203134" y="405147"/>
                    <a:pt x="1157154" y="258939"/>
                    <a:pt x="1065193" y="155402"/>
                  </a:cubicBezTo>
                  <a:cubicBezTo>
                    <a:pt x="973232" y="51864"/>
                    <a:pt x="821243" y="63"/>
                    <a:pt x="609225" y="0"/>
                  </a:cubicBezTo>
                  <a:cubicBezTo>
                    <a:pt x="388646" y="0"/>
                    <a:pt x="231963" y="60233"/>
                    <a:pt x="139178" y="180700"/>
                  </a:cubicBezTo>
                  <a:cubicBezTo>
                    <a:pt x="46393" y="301166"/>
                    <a:pt x="0" y="475684"/>
                    <a:pt x="0" y="704253"/>
                  </a:cubicBezTo>
                  <a:lnTo>
                    <a:pt x="0" y="1385966"/>
                  </a:lnTo>
                  <a:cubicBezTo>
                    <a:pt x="0" y="1609843"/>
                    <a:pt x="42619" y="1781032"/>
                    <a:pt x="127952" y="1903052"/>
                  </a:cubicBezTo>
                  <a:cubicBezTo>
                    <a:pt x="213286" y="2025071"/>
                    <a:pt x="356269" y="2085939"/>
                    <a:pt x="556522" y="2085939"/>
                  </a:cubicBezTo>
                  <a:cubicBezTo>
                    <a:pt x="712031" y="2085939"/>
                    <a:pt x="821528" y="2019936"/>
                    <a:pt x="885013" y="1887930"/>
                  </a:cubicBezTo>
                  <a:lnTo>
                    <a:pt x="910032" y="2085939"/>
                  </a:lnTo>
                  <a:lnTo>
                    <a:pt x="1205798" y="2085939"/>
                  </a:lnTo>
                  <a:lnTo>
                    <a:pt x="1205798" y="1004975"/>
                  </a:lnTo>
                  <a:lnTo>
                    <a:pt x="619214" y="1004975"/>
                  </a:lnTo>
                  <a:close/>
                </a:path>
              </a:pathLst>
            </a:custGeom>
            <a:solidFill>
              <a:srgbClr val="504F4F"/>
            </a:solidFill>
            <a:ln w="950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9EC4B6A0-7673-2F43-994F-F9D85A790CAA}"/>
                </a:ext>
              </a:extLst>
            </p:cNvPr>
            <p:cNvSpPr/>
            <p:nvPr/>
          </p:nvSpPr>
          <p:spPr>
            <a:xfrm>
              <a:off x="6787317" y="2919082"/>
              <a:ext cx="1657776" cy="1023199"/>
            </a:xfrm>
            <a:custGeom>
              <a:avLst/>
              <a:gdLst>
                <a:gd name="connsiteX0" fmla="*/ 1399113 w 1657776"/>
                <a:gd name="connsiteY0" fmla="*/ 261979 h 1023199"/>
                <a:gd name="connsiteX1" fmla="*/ 1227875 w 1657776"/>
                <a:gd name="connsiteY1" fmla="*/ 261979 h 1023199"/>
                <a:gd name="connsiteX2" fmla="*/ 1227875 w 1657776"/>
                <a:gd name="connsiteY2" fmla="*/ 465979 h 1023199"/>
                <a:gd name="connsiteX3" fmla="*/ 1004030 w 1657776"/>
                <a:gd name="connsiteY3" fmla="*/ 465979 h 1023199"/>
                <a:gd name="connsiteX4" fmla="*/ 913464 w 1657776"/>
                <a:gd name="connsiteY4" fmla="*/ 632508 h 1023199"/>
                <a:gd name="connsiteX5" fmla="*/ 818332 w 1657776"/>
                <a:gd name="connsiteY5" fmla="*/ 465979 h 1023199"/>
                <a:gd name="connsiteX6" fmla="*/ 700178 w 1657776"/>
                <a:gd name="connsiteY6" fmla="*/ 465979 h 1023199"/>
                <a:gd name="connsiteX7" fmla="*/ 720441 w 1657776"/>
                <a:gd name="connsiteY7" fmla="*/ 349000 h 1023199"/>
                <a:gd name="connsiteX8" fmla="*/ 720441 w 1657776"/>
                <a:gd name="connsiteY8" fmla="*/ 347193 h 1023199"/>
                <a:gd name="connsiteX9" fmla="*/ 617508 w 1657776"/>
                <a:gd name="connsiteY9" fmla="*/ 100966 h 1023199"/>
                <a:gd name="connsiteX10" fmla="*/ 103796 w 1657776"/>
                <a:gd name="connsiteY10" fmla="*/ 101822 h 1023199"/>
                <a:gd name="connsiteX11" fmla="*/ 7 w 1657776"/>
                <a:gd name="connsiteY11" fmla="*/ 349095 h 1023199"/>
                <a:gd name="connsiteX12" fmla="*/ 7 w 1657776"/>
                <a:gd name="connsiteY12" fmla="*/ 350807 h 1023199"/>
                <a:gd name="connsiteX13" fmla="*/ 102940 w 1657776"/>
                <a:gd name="connsiteY13" fmla="*/ 597034 h 1023199"/>
                <a:gd name="connsiteX14" fmla="*/ 593726 w 1657776"/>
                <a:gd name="connsiteY14" fmla="*/ 616626 h 1023199"/>
                <a:gd name="connsiteX15" fmla="*/ 593725 w 1657776"/>
                <a:gd name="connsiteY15" fmla="*/ 1023200 h 1023199"/>
                <a:gd name="connsiteX16" fmla="*/ 790744 w 1657776"/>
                <a:gd name="connsiteY16" fmla="*/ 1023200 h 1023199"/>
                <a:gd name="connsiteX17" fmla="*/ 790744 w 1657776"/>
                <a:gd name="connsiteY17" fmla="*/ 794947 h 1023199"/>
                <a:gd name="connsiteX18" fmla="*/ 913559 w 1657776"/>
                <a:gd name="connsiteY18" fmla="*/ 970226 h 1023199"/>
                <a:gd name="connsiteX19" fmla="*/ 1032189 w 1657776"/>
                <a:gd name="connsiteY19" fmla="*/ 794947 h 1023199"/>
                <a:gd name="connsiteX20" fmla="*/ 1032189 w 1657776"/>
                <a:gd name="connsiteY20" fmla="*/ 1023200 h 1023199"/>
                <a:gd name="connsiteX21" fmla="*/ 1229207 w 1657776"/>
                <a:gd name="connsiteY21" fmla="*/ 1023200 h 1023199"/>
                <a:gd name="connsiteX22" fmla="*/ 1229207 w 1657776"/>
                <a:gd name="connsiteY22" fmla="*/ 708402 h 1023199"/>
                <a:gd name="connsiteX23" fmla="*/ 1393976 w 1657776"/>
                <a:gd name="connsiteY23" fmla="*/ 708402 h 1023199"/>
                <a:gd name="connsiteX24" fmla="*/ 1657776 w 1657776"/>
                <a:gd name="connsiteY24" fmla="*/ 485095 h 1023199"/>
                <a:gd name="connsiteX25" fmla="*/ 1657776 w 1657776"/>
                <a:gd name="connsiteY25" fmla="*/ 478628 h 1023199"/>
                <a:gd name="connsiteX26" fmla="*/ 1399113 w 1657776"/>
                <a:gd name="connsiteY26" fmla="*/ 261979 h 1023199"/>
                <a:gd name="connsiteX27" fmla="*/ 475191 w 1657776"/>
                <a:gd name="connsiteY27" fmla="*/ 350712 h 1023199"/>
                <a:gd name="connsiteX28" fmla="*/ 361033 w 1657776"/>
                <a:gd name="connsiteY28" fmla="*/ 468642 h 1023199"/>
                <a:gd name="connsiteX29" fmla="*/ 244306 w 1657776"/>
                <a:gd name="connsiteY29" fmla="*/ 349000 h 1023199"/>
                <a:gd name="connsiteX30" fmla="*/ 244306 w 1657776"/>
                <a:gd name="connsiteY30" fmla="*/ 347193 h 1023199"/>
                <a:gd name="connsiteX31" fmla="*/ 360367 w 1657776"/>
                <a:gd name="connsiteY31" fmla="*/ 227551 h 1023199"/>
                <a:gd name="connsiteX32" fmla="*/ 475191 w 1657776"/>
                <a:gd name="connsiteY32" fmla="*/ 349000 h 1023199"/>
                <a:gd name="connsiteX33" fmla="*/ 1505280 w 1657776"/>
                <a:gd name="connsiteY33" fmla="*/ 483859 h 1023199"/>
                <a:gd name="connsiteX34" fmla="*/ 1411860 w 1657776"/>
                <a:gd name="connsiteY34" fmla="*/ 562511 h 1023199"/>
                <a:gd name="connsiteX35" fmla="*/ 1382560 w 1657776"/>
                <a:gd name="connsiteY35" fmla="*/ 562511 h 1023199"/>
                <a:gd name="connsiteX36" fmla="*/ 1382560 w 1657776"/>
                <a:gd name="connsiteY36" fmla="*/ 403780 h 1023199"/>
                <a:gd name="connsiteX37" fmla="*/ 1411099 w 1657776"/>
                <a:gd name="connsiteY37" fmla="*/ 403780 h 1023199"/>
                <a:gd name="connsiteX38" fmla="*/ 1504899 w 1657776"/>
                <a:gd name="connsiteY38" fmla="*/ 482527 h 1023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57776" h="1023199">
                  <a:moveTo>
                    <a:pt x="1399113" y="261979"/>
                  </a:moveTo>
                  <a:lnTo>
                    <a:pt x="1227875" y="261979"/>
                  </a:lnTo>
                  <a:lnTo>
                    <a:pt x="1227875" y="465979"/>
                  </a:lnTo>
                  <a:lnTo>
                    <a:pt x="1004030" y="465979"/>
                  </a:lnTo>
                  <a:lnTo>
                    <a:pt x="913464" y="632508"/>
                  </a:lnTo>
                  <a:lnTo>
                    <a:pt x="818332" y="465979"/>
                  </a:lnTo>
                  <a:lnTo>
                    <a:pt x="700178" y="465979"/>
                  </a:lnTo>
                  <a:cubicBezTo>
                    <a:pt x="713657" y="428453"/>
                    <a:pt x="720513" y="388872"/>
                    <a:pt x="720441" y="349000"/>
                  </a:cubicBezTo>
                  <a:lnTo>
                    <a:pt x="720441" y="347193"/>
                  </a:lnTo>
                  <a:cubicBezTo>
                    <a:pt x="721019" y="254545"/>
                    <a:pt x="683858" y="165651"/>
                    <a:pt x="617508" y="100966"/>
                  </a:cubicBezTo>
                  <a:cubicBezTo>
                    <a:pt x="472744" y="-33984"/>
                    <a:pt x="248110" y="-33610"/>
                    <a:pt x="103796" y="101822"/>
                  </a:cubicBezTo>
                  <a:cubicBezTo>
                    <a:pt x="37137" y="166798"/>
                    <a:pt x="-313" y="256022"/>
                    <a:pt x="7" y="349095"/>
                  </a:cubicBezTo>
                  <a:lnTo>
                    <a:pt x="7" y="350807"/>
                  </a:lnTo>
                  <a:cubicBezTo>
                    <a:pt x="-582" y="443457"/>
                    <a:pt x="36581" y="532355"/>
                    <a:pt x="102940" y="597034"/>
                  </a:cubicBezTo>
                  <a:cubicBezTo>
                    <a:pt x="239236" y="723862"/>
                    <a:pt x="447748" y="732186"/>
                    <a:pt x="593726" y="616626"/>
                  </a:cubicBezTo>
                  <a:lnTo>
                    <a:pt x="593725" y="1023200"/>
                  </a:lnTo>
                  <a:lnTo>
                    <a:pt x="790744" y="1023200"/>
                  </a:lnTo>
                  <a:lnTo>
                    <a:pt x="790744" y="794947"/>
                  </a:lnTo>
                  <a:lnTo>
                    <a:pt x="913559" y="970226"/>
                  </a:lnTo>
                  <a:lnTo>
                    <a:pt x="1032189" y="794947"/>
                  </a:lnTo>
                  <a:lnTo>
                    <a:pt x="1032189" y="1023200"/>
                  </a:lnTo>
                  <a:lnTo>
                    <a:pt x="1229207" y="1023200"/>
                  </a:lnTo>
                  <a:lnTo>
                    <a:pt x="1229207" y="708402"/>
                  </a:lnTo>
                  <a:lnTo>
                    <a:pt x="1393976" y="708402"/>
                  </a:lnTo>
                  <a:cubicBezTo>
                    <a:pt x="1565213" y="708402"/>
                    <a:pt x="1657776" y="613297"/>
                    <a:pt x="1657776" y="485095"/>
                  </a:cubicBezTo>
                  <a:lnTo>
                    <a:pt x="1657776" y="478628"/>
                  </a:lnTo>
                  <a:cubicBezTo>
                    <a:pt x="1657396" y="365073"/>
                    <a:pt x="1569399" y="261979"/>
                    <a:pt x="1399113" y="261979"/>
                  </a:cubicBezTo>
                  <a:close/>
                  <a:moveTo>
                    <a:pt x="475191" y="350712"/>
                  </a:moveTo>
                  <a:cubicBezTo>
                    <a:pt x="475191" y="411674"/>
                    <a:pt x="435997" y="468642"/>
                    <a:pt x="361033" y="468642"/>
                  </a:cubicBezTo>
                  <a:cubicBezTo>
                    <a:pt x="286069" y="468642"/>
                    <a:pt x="244306" y="411579"/>
                    <a:pt x="244306" y="349000"/>
                  </a:cubicBezTo>
                  <a:lnTo>
                    <a:pt x="244306" y="347193"/>
                  </a:lnTo>
                  <a:cubicBezTo>
                    <a:pt x="244306" y="286231"/>
                    <a:pt x="284832" y="227551"/>
                    <a:pt x="360367" y="227551"/>
                  </a:cubicBezTo>
                  <a:cubicBezTo>
                    <a:pt x="435901" y="227551"/>
                    <a:pt x="475191" y="285375"/>
                    <a:pt x="475191" y="349000"/>
                  </a:cubicBezTo>
                  <a:close/>
                  <a:moveTo>
                    <a:pt x="1505280" y="483859"/>
                  </a:moveTo>
                  <a:cubicBezTo>
                    <a:pt x="1505280" y="538639"/>
                    <a:pt x="1462566" y="562511"/>
                    <a:pt x="1411860" y="562511"/>
                  </a:cubicBezTo>
                  <a:lnTo>
                    <a:pt x="1382560" y="562511"/>
                  </a:lnTo>
                  <a:lnTo>
                    <a:pt x="1382560" y="403780"/>
                  </a:lnTo>
                  <a:lnTo>
                    <a:pt x="1411099" y="403780"/>
                  </a:lnTo>
                  <a:cubicBezTo>
                    <a:pt x="1462185" y="403780"/>
                    <a:pt x="1504899" y="427652"/>
                    <a:pt x="1504899" y="482527"/>
                  </a:cubicBezTo>
                  <a:close/>
                </a:path>
              </a:pathLst>
            </a:custGeom>
            <a:solidFill>
              <a:srgbClr val="FFFFFF"/>
            </a:solidFill>
            <a:ln w="950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516AD75-1970-4F40-B757-9A442B2886A6}"/>
                </a:ext>
              </a:extLst>
            </p:cNvPr>
            <p:cNvSpPr/>
            <p:nvPr/>
          </p:nvSpPr>
          <p:spPr>
            <a:xfrm>
              <a:off x="7031622" y="3146633"/>
              <a:ext cx="230885" cy="241091"/>
            </a:xfrm>
            <a:custGeom>
              <a:avLst/>
              <a:gdLst>
                <a:gd name="connsiteX0" fmla="*/ 116061 w 230885"/>
                <a:gd name="connsiteY0" fmla="*/ 0 h 241091"/>
                <a:gd name="connsiteX1" fmla="*/ 0 w 230885"/>
                <a:gd name="connsiteY1" fmla="*/ 119642 h 241091"/>
                <a:gd name="connsiteX2" fmla="*/ 0 w 230885"/>
                <a:gd name="connsiteY2" fmla="*/ 121449 h 241091"/>
                <a:gd name="connsiteX3" fmla="*/ 116727 w 230885"/>
                <a:gd name="connsiteY3" fmla="*/ 241091 h 241091"/>
                <a:gd name="connsiteX4" fmla="*/ 230885 w 230885"/>
                <a:gd name="connsiteY4" fmla="*/ 123161 h 241091"/>
                <a:gd name="connsiteX5" fmla="*/ 230885 w 230885"/>
                <a:gd name="connsiteY5" fmla="*/ 121449 h 241091"/>
                <a:gd name="connsiteX6" fmla="*/ 116061 w 230885"/>
                <a:gd name="connsiteY6" fmla="*/ 0 h 241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885" h="241091">
                  <a:moveTo>
                    <a:pt x="116061" y="0"/>
                  </a:moveTo>
                  <a:cubicBezTo>
                    <a:pt x="40526" y="0"/>
                    <a:pt x="0" y="58680"/>
                    <a:pt x="0" y="119642"/>
                  </a:cubicBezTo>
                  <a:lnTo>
                    <a:pt x="0" y="121449"/>
                  </a:lnTo>
                  <a:cubicBezTo>
                    <a:pt x="0" y="184314"/>
                    <a:pt x="40907" y="241091"/>
                    <a:pt x="116727" y="241091"/>
                  </a:cubicBezTo>
                  <a:cubicBezTo>
                    <a:pt x="192547" y="241091"/>
                    <a:pt x="230885" y="184028"/>
                    <a:pt x="230885" y="123161"/>
                  </a:cubicBezTo>
                  <a:lnTo>
                    <a:pt x="230885" y="121449"/>
                  </a:lnTo>
                  <a:cubicBezTo>
                    <a:pt x="230885" y="57824"/>
                    <a:pt x="191310" y="0"/>
                    <a:pt x="116061" y="0"/>
                  </a:cubicBezTo>
                  <a:close/>
                </a:path>
              </a:pathLst>
            </a:custGeom>
            <a:solidFill>
              <a:srgbClr val="E73529"/>
            </a:solidFill>
            <a:ln w="950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C00F3C5B-BE56-7347-A9FE-8615DD35392C}"/>
                </a:ext>
              </a:extLst>
            </p:cNvPr>
            <p:cNvSpPr/>
            <p:nvPr/>
          </p:nvSpPr>
          <p:spPr>
            <a:xfrm>
              <a:off x="8169876" y="3322862"/>
              <a:ext cx="122625" cy="158445"/>
            </a:xfrm>
            <a:custGeom>
              <a:avLst/>
              <a:gdLst>
                <a:gd name="connsiteX0" fmla="*/ 28540 w 122625"/>
                <a:gd name="connsiteY0" fmla="*/ 0 h 158445"/>
                <a:gd name="connsiteX1" fmla="*/ 0 w 122625"/>
                <a:gd name="connsiteY1" fmla="*/ 0 h 158445"/>
                <a:gd name="connsiteX2" fmla="*/ 0 w 122625"/>
                <a:gd name="connsiteY2" fmla="*/ 158445 h 158445"/>
                <a:gd name="connsiteX3" fmla="*/ 29206 w 122625"/>
                <a:gd name="connsiteY3" fmla="*/ 158445 h 158445"/>
                <a:gd name="connsiteX4" fmla="*/ 122625 w 122625"/>
                <a:gd name="connsiteY4" fmla="*/ 79793 h 158445"/>
                <a:gd name="connsiteX5" fmla="*/ 122625 w 122625"/>
                <a:gd name="connsiteY5" fmla="*/ 78747 h 158445"/>
                <a:gd name="connsiteX6" fmla="*/ 28540 w 122625"/>
                <a:gd name="connsiteY6" fmla="*/ 0 h 158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25" h="158445">
                  <a:moveTo>
                    <a:pt x="28540" y="0"/>
                  </a:moveTo>
                  <a:lnTo>
                    <a:pt x="0" y="0"/>
                  </a:lnTo>
                  <a:lnTo>
                    <a:pt x="0" y="158445"/>
                  </a:lnTo>
                  <a:lnTo>
                    <a:pt x="29206" y="158445"/>
                  </a:lnTo>
                  <a:cubicBezTo>
                    <a:pt x="79911" y="158445"/>
                    <a:pt x="122625" y="134574"/>
                    <a:pt x="122625" y="79793"/>
                  </a:cubicBezTo>
                  <a:lnTo>
                    <a:pt x="122625" y="78747"/>
                  </a:lnTo>
                  <a:cubicBezTo>
                    <a:pt x="122720" y="23871"/>
                    <a:pt x="80006" y="0"/>
                    <a:pt x="28540" y="0"/>
                  </a:cubicBezTo>
                  <a:close/>
                </a:path>
              </a:pathLst>
            </a:custGeom>
            <a:solidFill>
              <a:srgbClr val="E73529"/>
            </a:solidFill>
            <a:ln w="950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076E59E-9688-B440-AF4E-280521AE6F1B}"/>
                </a:ext>
              </a:extLst>
            </p:cNvPr>
            <p:cNvSpPr/>
            <p:nvPr/>
          </p:nvSpPr>
          <p:spPr>
            <a:xfrm>
              <a:off x="6572896" y="2387600"/>
              <a:ext cx="2086529" cy="2085938"/>
            </a:xfrm>
            <a:custGeom>
              <a:avLst/>
              <a:gdLst>
                <a:gd name="connsiteX0" fmla="*/ 0 w 2086529"/>
                <a:gd name="connsiteY0" fmla="*/ 0 h 2085938"/>
                <a:gd name="connsiteX1" fmla="*/ 0 w 2086529"/>
                <a:gd name="connsiteY1" fmla="*/ 2085939 h 2085938"/>
                <a:gd name="connsiteX2" fmla="*/ 2086530 w 2086529"/>
                <a:gd name="connsiteY2" fmla="*/ 2085939 h 2085938"/>
                <a:gd name="connsiteX3" fmla="*/ 2086530 w 2086529"/>
                <a:gd name="connsiteY3" fmla="*/ 0 h 2085938"/>
                <a:gd name="connsiteX4" fmla="*/ 1608396 w 2086529"/>
                <a:gd name="connsiteY4" fmla="*/ 1239884 h 2085938"/>
                <a:gd name="connsiteX5" fmla="*/ 1443532 w 2086529"/>
                <a:gd name="connsiteY5" fmla="*/ 1239884 h 2085938"/>
                <a:gd name="connsiteX6" fmla="*/ 1443532 w 2086529"/>
                <a:gd name="connsiteY6" fmla="*/ 1554587 h 2085938"/>
                <a:gd name="connsiteX7" fmla="*/ 1246514 w 2086529"/>
                <a:gd name="connsiteY7" fmla="*/ 1554587 h 2085938"/>
                <a:gd name="connsiteX8" fmla="*/ 1246514 w 2086529"/>
                <a:gd name="connsiteY8" fmla="*/ 1326335 h 2085938"/>
                <a:gd name="connsiteX9" fmla="*/ 1127885 w 2086529"/>
                <a:gd name="connsiteY9" fmla="*/ 1501613 h 2085938"/>
                <a:gd name="connsiteX10" fmla="*/ 1005069 w 2086529"/>
                <a:gd name="connsiteY10" fmla="*/ 1326335 h 2085938"/>
                <a:gd name="connsiteX11" fmla="*/ 1005069 w 2086529"/>
                <a:gd name="connsiteY11" fmla="*/ 1554587 h 2085938"/>
                <a:gd name="connsiteX12" fmla="*/ 808051 w 2086529"/>
                <a:gd name="connsiteY12" fmla="*/ 1554587 h 2085938"/>
                <a:gd name="connsiteX13" fmla="*/ 808051 w 2086529"/>
                <a:gd name="connsiteY13" fmla="*/ 1148013 h 2085938"/>
                <a:gd name="connsiteX14" fmla="*/ 317265 w 2086529"/>
                <a:gd name="connsiteY14" fmla="*/ 1128421 h 2085938"/>
                <a:gd name="connsiteX15" fmla="*/ 214332 w 2086529"/>
                <a:gd name="connsiteY15" fmla="*/ 882194 h 2085938"/>
                <a:gd name="connsiteX16" fmla="*/ 214332 w 2086529"/>
                <a:gd name="connsiteY16" fmla="*/ 880482 h 2085938"/>
                <a:gd name="connsiteX17" fmla="*/ 318121 w 2086529"/>
                <a:gd name="connsiteY17" fmla="*/ 633209 h 2085938"/>
                <a:gd name="connsiteX18" fmla="*/ 831834 w 2086529"/>
                <a:gd name="connsiteY18" fmla="*/ 632353 h 2085938"/>
                <a:gd name="connsiteX19" fmla="*/ 934862 w 2086529"/>
                <a:gd name="connsiteY19" fmla="*/ 878675 h 2085938"/>
                <a:gd name="connsiteX20" fmla="*/ 934862 w 2086529"/>
                <a:gd name="connsiteY20" fmla="*/ 880482 h 2085938"/>
                <a:gd name="connsiteX21" fmla="*/ 914599 w 2086529"/>
                <a:gd name="connsiteY21" fmla="*/ 997462 h 2085938"/>
                <a:gd name="connsiteX22" fmla="*/ 1033133 w 2086529"/>
                <a:gd name="connsiteY22" fmla="*/ 997461 h 2085938"/>
                <a:gd name="connsiteX23" fmla="*/ 1128265 w 2086529"/>
                <a:gd name="connsiteY23" fmla="*/ 1163990 h 2085938"/>
                <a:gd name="connsiteX24" fmla="*/ 1218831 w 2086529"/>
                <a:gd name="connsiteY24" fmla="*/ 997461 h 2085938"/>
                <a:gd name="connsiteX25" fmla="*/ 1442486 w 2086529"/>
                <a:gd name="connsiteY25" fmla="*/ 997461 h 2085938"/>
                <a:gd name="connsiteX26" fmla="*/ 1442486 w 2086529"/>
                <a:gd name="connsiteY26" fmla="*/ 793461 h 2085938"/>
                <a:gd name="connsiteX27" fmla="*/ 1613724 w 2086529"/>
                <a:gd name="connsiteY27" fmla="*/ 793461 h 2085938"/>
                <a:gd name="connsiteX28" fmla="*/ 1872007 w 2086529"/>
                <a:gd name="connsiteY28" fmla="*/ 1010110 h 2085938"/>
                <a:gd name="connsiteX29" fmla="*/ 1872007 w 2086529"/>
                <a:gd name="connsiteY29" fmla="*/ 1016578 h 2085938"/>
                <a:gd name="connsiteX30" fmla="*/ 1608396 w 2086529"/>
                <a:gd name="connsiteY30" fmla="*/ 1239884 h 208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86529" h="2085938">
                  <a:moveTo>
                    <a:pt x="0" y="0"/>
                  </a:moveTo>
                  <a:lnTo>
                    <a:pt x="0" y="2085939"/>
                  </a:lnTo>
                  <a:lnTo>
                    <a:pt x="2086530" y="2085939"/>
                  </a:lnTo>
                  <a:lnTo>
                    <a:pt x="2086530" y="0"/>
                  </a:lnTo>
                  <a:close/>
                  <a:moveTo>
                    <a:pt x="1608396" y="1239884"/>
                  </a:moveTo>
                  <a:lnTo>
                    <a:pt x="1443532" y="1239884"/>
                  </a:lnTo>
                  <a:lnTo>
                    <a:pt x="1443532" y="1554587"/>
                  </a:lnTo>
                  <a:lnTo>
                    <a:pt x="1246514" y="1554587"/>
                  </a:lnTo>
                  <a:lnTo>
                    <a:pt x="1246514" y="1326335"/>
                  </a:lnTo>
                  <a:lnTo>
                    <a:pt x="1127885" y="1501613"/>
                  </a:lnTo>
                  <a:lnTo>
                    <a:pt x="1005069" y="1326335"/>
                  </a:lnTo>
                  <a:lnTo>
                    <a:pt x="1005069" y="1554587"/>
                  </a:lnTo>
                  <a:lnTo>
                    <a:pt x="808051" y="1554587"/>
                  </a:lnTo>
                  <a:lnTo>
                    <a:pt x="808051" y="1148013"/>
                  </a:lnTo>
                  <a:cubicBezTo>
                    <a:pt x="662074" y="1263573"/>
                    <a:pt x="453561" y="1255250"/>
                    <a:pt x="317265" y="1128421"/>
                  </a:cubicBezTo>
                  <a:cubicBezTo>
                    <a:pt x="250906" y="1063742"/>
                    <a:pt x="213743" y="974844"/>
                    <a:pt x="214332" y="882194"/>
                  </a:cubicBezTo>
                  <a:lnTo>
                    <a:pt x="214332" y="880482"/>
                  </a:lnTo>
                  <a:cubicBezTo>
                    <a:pt x="214012" y="787409"/>
                    <a:pt x="251463" y="698185"/>
                    <a:pt x="318121" y="633209"/>
                  </a:cubicBezTo>
                  <a:cubicBezTo>
                    <a:pt x="462435" y="497777"/>
                    <a:pt x="687070" y="497403"/>
                    <a:pt x="831834" y="632353"/>
                  </a:cubicBezTo>
                  <a:cubicBezTo>
                    <a:pt x="898243" y="697045"/>
                    <a:pt x="935441" y="785980"/>
                    <a:pt x="934862" y="878675"/>
                  </a:cubicBezTo>
                  <a:lnTo>
                    <a:pt x="934862" y="880482"/>
                  </a:lnTo>
                  <a:cubicBezTo>
                    <a:pt x="934934" y="920354"/>
                    <a:pt x="928078" y="959936"/>
                    <a:pt x="914599" y="997462"/>
                  </a:cubicBezTo>
                  <a:lnTo>
                    <a:pt x="1033133" y="997461"/>
                  </a:lnTo>
                  <a:lnTo>
                    <a:pt x="1128265" y="1163990"/>
                  </a:lnTo>
                  <a:lnTo>
                    <a:pt x="1218831" y="997461"/>
                  </a:lnTo>
                  <a:lnTo>
                    <a:pt x="1442486" y="997461"/>
                  </a:lnTo>
                  <a:lnTo>
                    <a:pt x="1442486" y="793461"/>
                  </a:lnTo>
                  <a:lnTo>
                    <a:pt x="1613724" y="793461"/>
                  </a:lnTo>
                  <a:cubicBezTo>
                    <a:pt x="1784010" y="793461"/>
                    <a:pt x="1872007" y="896555"/>
                    <a:pt x="1872007" y="1010110"/>
                  </a:cubicBezTo>
                  <a:lnTo>
                    <a:pt x="1872007" y="1016578"/>
                  </a:lnTo>
                  <a:cubicBezTo>
                    <a:pt x="1872197" y="1144779"/>
                    <a:pt x="1779919" y="1239884"/>
                    <a:pt x="1608396" y="1239884"/>
                  </a:cubicBezTo>
                  <a:close/>
                </a:path>
              </a:pathLst>
            </a:custGeom>
            <a:solidFill>
              <a:srgbClr val="E73529"/>
            </a:solidFill>
            <a:ln w="9507" cap="flat">
              <a:noFill/>
              <a:prstDash val="solid"/>
              <a:miter/>
            </a:ln>
          </p:spPr>
          <p:txBody>
            <a:bodyPr rtlCol="0" anchor="ctr"/>
            <a:lstStyle/>
            <a:p>
              <a:endParaRPr lang="en-US"/>
            </a:p>
          </p:txBody>
        </p:sp>
      </p:grpSp>
      <p:pic>
        <p:nvPicPr>
          <p:cNvPr id="12" name="Picture 2" descr="Trustpilot - Wikipedia">
            <a:extLst>
              <a:ext uri="{FF2B5EF4-FFF2-40B4-BE49-F238E27FC236}">
                <a16:creationId xmlns:a16="http://schemas.microsoft.com/office/drawing/2014/main" id="{9A7BE73E-6F3E-43F9-BA5C-154725011DCF}"/>
              </a:ext>
            </a:extLst>
          </p:cNvPr>
          <p:cNvPicPr>
            <a:picLocks noChangeAspect="1" noChangeArrowheads="1"/>
          </p:cNvPicPr>
          <p:nvPr userDrawn="1"/>
        </p:nvPicPr>
        <p:blipFill>
          <a:blip r:embed="rId59">
            <a:extLst>
              <a:ext uri="{28A0092B-C50C-407E-A947-70E740481C1C}">
                <a14:useLocalDpi xmlns:a14="http://schemas.microsoft.com/office/drawing/2010/main" val="0"/>
              </a:ext>
            </a:extLst>
          </a:blip>
          <a:srcRect/>
          <a:stretch>
            <a:fillRect/>
          </a:stretch>
        </p:blipFill>
        <p:spPr bwMode="auto">
          <a:xfrm>
            <a:off x="4998500" y="6415109"/>
            <a:ext cx="938087" cy="38696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6AC9256B-67A1-4932-AC87-19F4B8134A74}"/>
              </a:ext>
            </a:extLst>
          </p:cNvPr>
          <p:cNvSpPr/>
          <p:nvPr userDrawn="1"/>
        </p:nvSpPr>
        <p:spPr>
          <a:xfrm>
            <a:off x="5970003" y="6556108"/>
            <a:ext cx="187372" cy="129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ea typeface="Oswald Light" charset="0"/>
                <a:cs typeface="Oswald Light" charset="0"/>
              </a:rPr>
              <a:t>x</a:t>
            </a:r>
          </a:p>
        </p:txBody>
      </p:sp>
    </p:spTree>
    <p:extLst>
      <p:ext uri="{BB962C8B-B14F-4D97-AF65-F5344CB8AC3E}">
        <p14:creationId xmlns:p14="http://schemas.microsoft.com/office/powerpoint/2010/main" val="3101792077"/>
      </p:ext>
    </p:extLst>
  </p:cSld>
  <p:clrMap bg1="lt1" tx1="dk1" bg2="lt2" tx2="dk2" accent1="accent1" accent2="accent2" accent3="accent3" accent4="accent4" accent5="accent5" accent6="accent6" hlink="hlink" folHlink="folHlink"/>
  <p:sldLayoutIdLst>
    <p:sldLayoutId id="2147484026" r:id="rId1"/>
    <p:sldLayoutId id="2147483984" r:id="rId2"/>
    <p:sldLayoutId id="2147483999" r:id="rId3"/>
    <p:sldLayoutId id="2147484000" r:id="rId4"/>
    <p:sldLayoutId id="2147484001" r:id="rId5"/>
    <p:sldLayoutId id="2147484002" r:id="rId6"/>
    <p:sldLayoutId id="2147484003" r:id="rId7"/>
    <p:sldLayoutId id="2147483956" r:id="rId8"/>
    <p:sldLayoutId id="2147483962" r:id="rId9"/>
    <p:sldLayoutId id="2147483960" r:id="rId10"/>
    <p:sldLayoutId id="2147483928" r:id="rId11"/>
    <p:sldLayoutId id="2147484027" r:id="rId12"/>
    <p:sldLayoutId id="2147483966" r:id="rId13"/>
    <p:sldLayoutId id="2147483957" r:id="rId14"/>
    <p:sldLayoutId id="2147484004" r:id="rId15"/>
    <p:sldLayoutId id="2147484017" r:id="rId16"/>
    <p:sldLayoutId id="2147484005" r:id="rId17"/>
    <p:sldLayoutId id="2147484006" r:id="rId18"/>
    <p:sldLayoutId id="2147484007" r:id="rId19"/>
    <p:sldLayoutId id="2147484022" r:id="rId20"/>
    <p:sldLayoutId id="2147484023" r:id="rId21"/>
    <p:sldLayoutId id="2147484008" r:id="rId22"/>
    <p:sldLayoutId id="2147484009" r:id="rId23"/>
    <p:sldLayoutId id="2147484010" r:id="rId24"/>
    <p:sldLayoutId id="2147484011" r:id="rId25"/>
    <p:sldLayoutId id="2147483975" r:id="rId26"/>
    <p:sldLayoutId id="2147483983" r:id="rId27"/>
    <p:sldLayoutId id="2147484020" r:id="rId28"/>
    <p:sldLayoutId id="2147483978" r:id="rId29"/>
    <p:sldLayoutId id="2147483977" r:id="rId30"/>
    <p:sldLayoutId id="2147484012" r:id="rId31"/>
    <p:sldLayoutId id="2147484013" r:id="rId32"/>
    <p:sldLayoutId id="2147484014" r:id="rId33"/>
    <p:sldLayoutId id="2147484016" r:id="rId34"/>
    <p:sldLayoutId id="2147484015" r:id="rId35"/>
    <p:sldLayoutId id="2147483925" r:id="rId36"/>
    <p:sldLayoutId id="2147483971" r:id="rId37"/>
    <p:sldLayoutId id="2147483982" r:id="rId38"/>
    <p:sldLayoutId id="2147483972" r:id="rId39"/>
    <p:sldLayoutId id="2147483973" r:id="rId40"/>
    <p:sldLayoutId id="2147483981" r:id="rId41"/>
    <p:sldLayoutId id="2147483996" r:id="rId42"/>
    <p:sldLayoutId id="2147483969" r:id="rId43"/>
    <p:sldLayoutId id="2147483968" r:id="rId44"/>
    <p:sldLayoutId id="2147483961" r:id="rId45"/>
    <p:sldLayoutId id="2147483931" r:id="rId46"/>
    <p:sldLayoutId id="2147483936" r:id="rId47"/>
    <p:sldLayoutId id="2147483937" r:id="rId48"/>
    <p:sldLayoutId id="2147483938" r:id="rId49"/>
    <p:sldLayoutId id="2147483998" r:id="rId50"/>
    <p:sldLayoutId id="2147483970" r:id="rId51"/>
    <p:sldLayoutId id="2147483964" r:id="rId52"/>
    <p:sldLayoutId id="2147483965" r:id="rId53"/>
    <p:sldLayoutId id="2147484028" r:id="rId54"/>
    <p:sldLayoutId id="2147484029" r:id="rId55"/>
    <p:sldLayoutId id="2147484030" r:id="rId56"/>
    <p:sldLayoutId id="2147484031" r:id="rId57"/>
  </p:sldLayoutIdLst>
  <p:hf hdr="0" dt="0"/>
  <p:txStyles>
    <p:titleStyle>
      <a:lvl1pPr algn="l" defTabSz="1219170" rtl="0" eaLnBrk="1" latinLnBrk="0" hangingPunct="1">
        <a:lnSpc>
          <a:spcPct val="100000"/>
        </a:lnSpc>
        <a:spcBef>
          <a:spcPct val="0"/>
        </a:spcBef>
        <a:buNone/>
        <a:defRPr sz="4000" b="0" i="0" kern="1200" spc="0">
          <a:solidFill>
            <a:schemeClr val="tx1"/>
          </a:solidFill>
          <a:latin typeface="+mj-lt"/>
          <a:ea typeface="+mj-ea"/>
          <a:cs typeface="Arial Narrow" panose="020B0604020202020204" pitchFamily="34" charset="0"/>
        </a:defRPr>
      </a:lvl1pPr>
    </p:titleStyle>
    <p:bodyStyle>
      <a:lvl1pPr marL="0" indent="0" algn="l" defTabSz="1219170" rtl="0" eaLnBrk="1" latinLnBrk="0" hangingPunct="1">
        <a:lnSpc>
          <a:spcPct val="113000"/>
        </a:lnSpc>
        <a:spcBef>
          <a:spcPts val="1200"/>
        </a:spcBef>
        <a:buFont typeface="Arial"/>
        <a:buNone/>
        <a:defRPr sz="1200" b="0" i="0" kern="1200">
          <a:solidFill>
            <a:schemeClr val="tx1"/>
          </a:solidFill>
          <a:latin typeface="+mn-lt"/>
          <a:ea typeface="Arial" panose="020B0604020202020204" pitchFamily="34" charset="0"/>
          <a:cs typeface="Arial" panose="020B0604020202020204" pitchFamily="34" charset="0"/>
        </a:defRPr>
      </a:lvl1pPr>
      <a:lvl2pPr marL="6351" indent="0" algn="l" defTabSz="1219170" rtl="0" eaLnBrk="1" latinLnBrk="0" hangingPunct="1">
        <a:lnSpc>
          <a:spcPct val="90000"/>
        </a:lnSpc>
        <a:spcBef>
          <a:spcPts val="667"/>
        </a:spcBef>
        <a:buFont typeface="Arial"/>
        <a:buNone/>
        <a:tabLst/>
        <a:defRPr sz="3200" b="1" i="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6351" indent="0" algn="l" defTabSz="1219170" rtl="0" eaLnBrk="1" latinLnBrk="0" hangingPunct="1">
        <a:lnSpc>
          <a:spcPct val="90000"/>
        </a:lnSpc>
        <a:spcBef>
          <a:spcPts val="667"/>
        </a:spcBef>
        <a:buFont typeface="Arial"/>
        <a:buNone/>
        <a:tabLst/>
        <a:defRPr sz="2000" kern="1200">
          <a:solidFill>
            <a:schemeClr val="tx1"/>
          </a:solidFill>
          <a:latin typeface="Arial" panose="020B0604020202020204" pitchFamily="34" charset="0"/>
          <a:ea typeface="+mn-ea"/>
          <a:cs typeface="Arial" panose="020B0604020202020204" pitchFamily="34" charset="0"/>
        </a:defRPr>
      </a:lvl3pPr>
      <a:lvl4pPr marL="239178" indent="-232828" algn="l" defTabSz="1219170" rtl="0" eaLnBrk="1" latinLnBrk="0" hangingPunct="1">
        <a:lnSpc>
          <a:spcPct val="90000"/>
        </a:lnSpc>
        <a:spcBef>
          <a:spcPts val="667"/>
        </a:spcBef>
        <a:buFont typeface="Arial" charset="0"/>
        <a:buChar char="•"/>
        <a:tabLst/>
        <a:defRPr sz="1600" b="0" i="0" kern="1200">
          <a:solidFill>
            <a:schemeClr val="tx1"/>
          </a:solidFill>
          <a:latin typeface="Arial" panose="020B0604020202020204" pitchFamily="34" charset="0"/>
          <a:ea typeface="Arial Narrow" panose="020B0604020202020204" pitchFamily="34" charset="0"/>
          <a:cs typeface="Arial" panose="020B0604020202020204" pitchFamily="34" charset="0"/>
        </a:defRPr>
      </a:lvl4pPr>
      <a:lvl5pPr marL="474121" indent="-234945" algn="l" defTabSz="1219170" rtl="0" eaLnBrk="1" latinLnBrk="0" hangingPunct="1">
        <a:lnSpc>
          <a:spcPct val="90000"/>
        </a:lnSpc>
        <a:spcBef>
          <a:spcPts val="667"/>
        </a:spcBef>
        <a:buFont typeface="Arial"/>
        <a:buChar char="•"/>
        <a:tabLst/>
        <a:defRPr sz="1600" b="0" i="0" kern="1200">
          <a:solidFill>
            <a:schemeClr val="tx1"/>
          </a:solidFill>
          <a:latin typeface="Arial" panose="020B0604020202020204" pitchFamily="34" charset="0"/>
          <a:ea typeface="Arial Narrow" panose="020B0604020202020204" pitchFamily="34" charset="0"/>
          <a:cs typeface="Arial" panose="020B0604020202020204" pitchFamily="34" charset="0"/>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1">
          <p15:clr>
            <a:srgbClr val="F26B43"/>
          </p15:clr>
        </p15:guide>
        <p15:guide id="2" pos="1968">
          <p15:clr>
            <a:srgbClr val="F26B43"/>
          </p15:clr>
        </p15:guide>
        <p15:guide id="3" pos="2095">
          <p15:clr>
            <a:srgbClr val="F26B43"/>
          </p15:clr>
        </p15:guide>
        <p15:guide id="4" pos="3772">
          <p15:clr>
            <a:srgbClr val="F26B43"/>
          </p15:clr>
        </p15:guide>
        <p15:guide id="5" pos="3908" userDrawn="1">
          <p15:clr>
            <a:srgbClr val="F26B43"/>
          </p15:clr>
        </p15:guide>
        <p15:guide id="6" pos="5580">
          <p15:clr>
            <a:srgbClr val="F26B43"/>
          </p15:clr>
        </p15:guide>
        <p15:guide id="7" pos="5708">
          <p15:clr>
            <a:srgbClr val="F26B43"/>
          </p15:clr>
        </p15:guide>
        <p15:guide id="8" pos="7389">
          <p15:clr>
            <a:srgbClr val="F26B43"/>
          </p15:clr>
        </p15:guide>
        <p15:guide id="9" orient="horz" pos="4065" userDrawn="1">
          <p15:clr>
            <a:srgbClr val="A4A3A4"/>
          </p15:clr>
        </p15:guide>
        <p15:guide id="10" pos="209">
          <p15:clr>
            <a:srgbClr val="F26B43"/>
          </p15:clr>
        </p15:guide>
        <p15:guide id="11" pos="7467">
          <p15:clr>
            <a:srgbClr val="F26B43"/>
          </p15:clr>
        </p15:guide>
        <p15:guide id="13" orient="horz" pos="1117" userDrawn="1">
          <p15:clr>
            <a:srgbClr val="A4A3A4"/>
          </p15:clr>
        </p15:guide>
        <p15:guide id="15" pos="123">
          <p15:clr>
            <a:srgbClr val="A4A3A4"/>
          </p15:clr>
        </p15:guide>
        <p15:guide id="16" pos="7549">
          <p15:clr>
            <a:srgbClr val="A4A3A4"/>
          </p15:clr>
        </p15:guide>
        <p15:guide id="17" orient="horz" pos="141">
          <p15:clr>
            <a:srgbClr val="A4A3A4"/>
          </p15:clr>
        </p15:guide>
        <p15:guide id="18" orient="horz" pos="2092" userDrawn="1">
          <p15:clr>
            <a:srgbClr val="A4A3A4"/>
          </p15:clr>
        </p15:guide>
        <p15:guide id="19" pos="3840">
          <p15:clr>
            <a:srgbClr val="A4A3A4"/>
          </p15:clr>
        </p15:guide>
        <p15:guide id="20" orient="horz" pos="3090"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9.xml"/><Relationship Id="rId4" Type="http://schemas.openxmlformats.org/officeDocument/2006/relationships/chart" Target="../charts/chart5.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9.xml"/><Relationship Id="rId5" Type="http://schemas.openxmlformats.org/officeDocument/2006/relationships/image" Target="../media/image12.PN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png"/><Relationship Id="rId2" Type="http://schemas.openxmlformats.org/officeDocument/2006/relationships/diagramData" Target="../diagrams/data1.xml"/><Relationship Id="rId1" Type="http://schemas.openxmlformats.org/officeDocument/2006/relationships/slideLayout" Target="../slideLayouts/slideLayout4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8.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A39BE8F-92E8-CC4E-942B-F13CB372CF3A}"/>
              </a:ext>
            </a:extLst>
          </p:cNvPr>
          <p:cNvSpPr>
            <a:spLocks noGrp="1"/>
          </p:cNvSpPr>
          <p:nvPr>
            <p:ph type="pic" sz="quarter" idx="10"/>
          </p:nvPr>
        </p:nvSpPr>
        <p:spPr>
          <a:gradFill>
            <a:gsLst>
              <a:gs pos="100000">
                <a:schemeClr val="accent2"/>
              </a:gs>
              <a:gs pos="53000">
                <a:schemeClr val="accent3"/>
              </a:gs>
              <a:gs pos="0">
                <a:schemeClr val="accent1"/>
              </a:gs>
            </a:gsLst>
            <a:lin ang="5400000" scaled="0"/>
          </a:gradFill>
        </p:spPr>
      </p:sp>
      <p:sp>
        <p:nvSpPr>
          <p:cNvPr id="3" name="Slide Number Placeholder 2">
            <a:extLst>
              <a:ext uri="{FF2B5EF4-FFF2-40B4-BE49-F238E27FC236}">
                <a16:creationId xmlns:a16="http://schemas.microsoft.com/office/drawing/2014/main" id="{CE153E08-C30E-CA4A-A46B-6EE13F61C471}"/>
              </a:ext>
            </a:extLst>
          </p:cNvPr>
          <p:cNvSpPr>
            <a:spLocks noGrp="1"/>
          </p:cNvSpPr>
          <p:nvPr>
            <p:ph type="sldNum" sz="quarter" idx="4"/>
          </p:nvPr>
        </p:nvSpPr>
        <p:spPr/>
        <p:txBody>
          <a:bodyPr/>
          <a:lstStyle/>
          <a:p>
            <a:fld id="{CCC91EE0-52FC-AE4F-BCCE-CF8E45753813}" type="slidenum">
              <a:rPr lang="en-GB" smtClean="0"/>
              <a:pPr/>
              <a:t>1</a:t>
            </a:fld>
            <a:endParaRPr lang="en-GB" dirty="0"/>
          </a:p>
        </p:txBody>
      </p:sp>
      <p:sp>
        <p:nvSpPr>
          <p:cNvPr id="4" name="Footer Placeholder 3">
            <a:extLst>
              <a:ext uri="{FF2B5EF4-FFF2-40B4-BE49-F238E27FC236}">
                <a16:creationId xmlns:a16="http://schemas.microsoft.com/office/drawing/2014/main" id="{49A3490B-0C12-6346-ACD3-8B59C8ACA3C8}"/>
              </a:ext>
            </a:extLst>
          </p:cNvPr>
          <p:cNvSpPr>
            <a:spLocks noGrp="1"/>
          </p:cNvSpPr>
          <p:nvPr>
            <p:ph type="ftr" sz="quarter" idx="14"/>
          </p:nvPr>
        </p:nvSpPr>
        <p:spPr/>
        <p:txBody>
          <a:bodyPr/>
          <a:lstStyle/>
          <a:p>
            <a:endParaRPr lang="en-GB"/>
          </a:p>
        </p:txBody>
      </p:sp>
      <p:sp>
        <p:nvSpPr>
          <p:cNvPr id="5" name="Text Placeholder 4">
            <a:extLst>
              <a:ext uri="{FF2B5EF4-FFF2-40B4-BE49-F238E27FC236}">
                <a16:creationId xmlns:a16="http://schemas.microsoft.com/office/drawing/2014/main" id="{B9393005-1E22-7242-A082-B5FBB32A5DB6}"/>
              </a:ext>
            </a:extLst>
          </p:cNvPr>
          <p:cNvSpPr>
            <a:spLocks noGrp="1"/>
          </p:cNvSpPr>
          <p:nvPr>
            <p:ph type="body" sz="quarter" idx="15"/>
          </p:nvPr>
        </p:nvSpPr>
        <p:spPr/>
        <p:txBody>
          <a:bodyPr>
            <a:normAutofit fontScale="70000" lnSpcReduction="20000"/>
          </a:bodyPr>
          <a:lstStyle/>
          <a:p>
            <a:r>
              <a:rPr lang="en-US" dirty="0"/>
              <a:t>A proposal for decision funnel analysis for</a:t>
            </a:r>
          </a:p>
          <a:p>
            <a:r>
              <a:rPr lang="en-US" dirty="0"/>
              <a:t>Trustpilot</a:t>
            </a:r>
          </a:p>
        </p:txBody>
      </p:sp>
      <p:sp>
        <p:nvSpPr>
          <p:cNvPr id="6" name="Text Placeholder 5">
            <a:extLst>
              <a:ext uri="{FF2B5EF4-FFF2-40B4-BE49-F238E27FC236}">
                <a16:creationId xmlns:a16="http://schemas.microsoft.com/office/drawing/2014/main" id="{C32BC744-0954-FD49-A95B-2C8D748D9156}"/>
              </a:ext>
            </a:extLst>
          </p:cNvPr>
          <p:cNvSpPr>
            <a:spLocks noGrp="1"/>
          </p:cNvSpPr>
          <p:nvPr>
            <p:ph type="body" sz="quarter" idx="16"/>
          </p:nvPr>
        </p:nvSpPr>
        <p:spPr/>
        <p:txBody>
          <a:bodyPr/>
          <a:lstStyle/>
          <a:p>
            <a:r>
              <a:rPr lang="en-US" dirty="0"/>
              <a:t>11/01/2022</a:t>
            </a:r>
          </a:p>
        </p:txBody>
      </p:sp>
      <p:sp>
        <p:nvSpPr>
          <p:cNvPr id="12" name="Text Placeholder 11">
            <a:extLst>
              <a:ext uri="{FF2B5EF4-FFF2-40B4-BE49-F238E27FC236}">
                <a16:creationId xmlns:a16="http://schemas.microsoft.com/office/drawing/2014/main" id="{6E7889F2-80ED-1F4E-AFC2-91763F46B8E5}"/>
              </a:ext>
            </a:extLst>
          </p:cNvPr>
          <p:cNvSpPr>
            <a:spLocks noGrp="1"/>
          </p:cNvSpPr>
          <p:nvPr>
            <p:ph type="body" sz="quarter" idx="17"/>
          </p:nvPr>
        </p:nvSpPr>
        <p:spPr/>
        <p:txBody>
          <a:bodyPr>
            <a:normAutofit/>
          </a:bodyPr>
          <a:lstStyle/>
          <a:p>
            <a:r>
              <a:rPr lang="en-US" sz="1600" dirty="0"/>
              <a:t>Presented by: AMS @ MG OMD</a:t>
            </a:r>
          </a:p>
        </p:txBody>
      </p:sp>
    </p:spTree>
    <p:extLst>
      <p:ext uri="{BB962C8B-B14F-4D97-AF65-F5344CB8AC3E}">
        <p14:creationId xmlns:p14="http://schemas.microsoft.com/office/powerpoint/2010/main" val="12809221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82E2E2-1BCD-4CE8-BB30-0E75A4191310}"/>
              </a:ext>
            </a:extLst>
          </p:cNvPr>
          <p:cNvSpPr>
            <a:spLocks noGrp="1"/>
          </p:cNvSpPr>
          <p:nvPr>
            <p:ph type="sldNum" sz="quarter" idx="4"/>
          </p:nvPr>
        </p:nvSpPr>
        <p:spPr/>
        <p:txBody>
          <a:bodyPr/>
          <a:lstStyle/>
          <a:p>
            <a:fld id="{CCC91EE0-52FC-AE4F-BCCE-CF8E45753813}" type="slidenum">
              <a:rPr lang="en-GB" smtClean="0"/>
              <a:pPr/>
              <a:t>10</a:t>
            </a:fld>
            <a:endParaRPr lang="en-GB" dirty="0"/>
          </a:p>
        </p:txBody>
      </p:sp>
      <p:sp>
        <p:nvSpPr>
          <p:cNvPr id="3" name="Footer Placeholder 2">
            <a:extLst>
              <a:ext uri="{FF2B5EF4-FFF2-40B4-BE49-F238E27FC236}">
                <a16:creationId xmlns:a16="http://schemas.microsoft.com/office/drawing/2014/main" id="{8AD76A4E-55A9-4E76-9859-10CB3D57B35F}"/>
              </a:ext>
            </a:extLst>
          </p:cNvPr>
          <p:cNvSpPr>
            <a:spLocks noGrp="1"/>
          </p:cNvSpPr>
          <p:nvPr>
            <p:ph type="ftr" sz="quarter" idx="14"/>
          </p:nvPr>
        </p:nvSpPr>
        <p:spPr/>
        <p:txBody>
          <a:bodyPr/>
          <a:lstStyle/>
          <a:p>
            <a:endParaRPr lang="en-GB"/>
          </a:p>
        </p:txBody>
      </p:sp>
      <p:sp>
        <p:nvSpPr>
          <p:cNvPr id="4" name="Title 3">
            <a:extLst>
              <a:ext uri="{FF2B5EF4-FFF2-40B4-BE49-F238E27FC236}">
                <a16:creationId xmlns:a16="http://schemas.microsoft.com/office/drawing/2014/main" id="{7234821B-DAC7-4AEF-82D6-5BFF3CDBF395}"/>
              </a:ext>
            </a:extLst>
          </p:cNvPr>
          <p:cNvSpPr>
            <a:spLocks noGrp="1"/>
          </p:cNvSpPr>
          <p:nvPr>
            <p:ph type="title"/>
          </p:nvPr>
        </p:nvSpPr>
        <p:spPr>
          <a:xfrm>
            <a:off x="334841" y="300381"/>
            <a:ext cx="11522319" cy="707886"/>
          </a:xfrm>
        </p:spPr>
        <p:txBody>
          <a:bodyPr/>
          <a:lstStyle/>
          <a:p>
            <a:r>
              <a:rPr lang="en-GB" dirty="0"/>
              <a:t>Mid campaign dip: Causal Impact Analysis</a:t>
            </a:r>
          </a:p>
        </p:txBody>
      </p:sp>
      <p:pic>
        <p:nvPicPr>
          <p:cNvPr id="5" name="Picture 4">
            <a:extLst>
              <a:ext uri="{FF2B5EF4-FFF2-40B4-BE49-F238E27FC236}">
                <a16:creationId xmlns:a16="http://schemas.microsoft.com/office/drawing/2014/main" id="{93F7FEFD-AD4D-4B82-B32B-23059A26E137}"/>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82551" y="1925686"/>
            <a:ext cx="5808349" cy="3927747"/>
          </a:xfrm>
          <a:prstGeom prst="rect">
            <a:avLst/>
          </a:prstGeom>
        </p:spPr>
      </p:pic>
      <p:sp>
        <p:nvSpPr>
          <p:cNvPr id="6" name="Rectangle 5">
            <a:extLst>
              <a:ext uri="{FF2B5EF4-FFF2-40B4-BE49-F238E27FC236}">
                <a16:creationId xmlns:a16="http://schemas.microsoft.com/office/drawing/2014/main" id="{C6291163-5A07-407A-A45E-29A9AB763581}"/>
              </a:ext>
            </a:extLst>
          </p:cNvPr>
          <p:cNvSpPr/>
          <p:nvPr/>
        </p:nvSpPr>
        <p:spPr>
          <a:xfrm>
            <a:off x="5829929" y="1561988"/>
            <a:ext cx="5803271" cy="4407011"/>
          </a:xfrm>
          <a:prstGeom prst="rect">
            <a:avLst/>
          </a:prstGeom>
          <a:gradFill>
            <a:gsLst>
              <a:gs pos="0">
                <a:schemeClr val="accent3"/>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defTabSz="685800" fontAlgn="auto">
              <a:spcBef>
                <a:spcPts val="0"/>
              </a:spcBef>
              <a:spcAft>
                <a:spcPts val="0"/>
              </a:spcAft>
              <a:buFont typeface="Arial" panose="020B0604020202020204" pitchFamily="34" charset="0"/>
              <a:buChar char="•"/>
            </a:pPr>
            <a:r>
              <a:rPr lang="en-GB" sz="1600" kern="0" dirty="0">
                <a:solidFill>
                  <a:schemeClr val="bg1"/>
                </a:solidFill>
              </a:rPr>
              <a:t>Funnel analysis is traditionally used to measure longer term impact of advertising on the customer funnel. We wouldn’t necessarily recommend it as an approach to check for mid-campaign improvements. The main reason is that the metrics we’re trying to shift don’t do so very quickly</a:t>
            </a:r>
          </a:p>
          <a:p>
            <a:pPr marL="285750" indent="-285750" algn="ctr" defTabSz="685800" fontAlgn="auto">
              <a:spcBef>
                <a:spcPts val="0"/>
              </a:spcBef>
              <a:spcAft>
                <a:spcPts val="0"/>
              </a:spcAft>
              <a:buFont typeface="Arial" panose="020B0604020202020204" pitchFamily="34" charset="0"/>
              <a:buChar char="•"/>
            </a:pPr>
            <a:r>
              <a:rPr lang="en-GB" sz="1600" kern="0" dirty="0">
                <a:solidFill>
                  <a:schemeClr val="bg1"/>
                </a:solidFill>
              </a:rPr>
              <a:t>CIA is an approach developed by Google to estimate the effect a campaign has on a set of KPIs such as: web-visits; searches of key words; etc.</a:t>
            </a:r>
          </a:p>
          <a:p>
            <a:pPr marL="285750" indent="-285750" algn="ctr" defTabSz="685800" fontAlgn="auto">
              <a:spcBef>
                <a:spcPts val="0"/>
              </a:spcBef>
              <a:spcAft>
                <a:spcPts val="0"/>
              </a:spcAft>
              <a:buFont typeface="Arial" panose="020B0604020202020204" pitchFamily="34" charset="0"/>
              <a:buChar char="•"/>
            </a:pPr>
            <a:r>
              <a:rPr lang="en-GB" sz="1600" kern="0" dirty="0">
                <a:solidFill>
                  <a:schemeClr val="bg1"/>
                </a:solidFill>
              </a:rPr>
              <a:t>It can only answer the question: has the campaign had an impact? It cannot look into disentangle the effect of different media channels </a:t>
            </a:r>
          </a:p>
        </p:txBody>
      </p:sp>
    </p:spTree>
    <p:extLst>
      <p:ext uri="{BB962C8B-B14F-4D97-AF65-F5344CB8AC3E}">
        <p14:creationId xmlns:p14="http://schemas.microsoft.com/office/powerpoint/2010/main" val="18110748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B5C8921-135F-0B43-9202-C5B23DC25017}"/>
              </a:ext>
            </a:extLst>
          </p:cNvPr>
          <p:cNvSpPr>
            <a:spLocks noGrp="1"/>
          </p:cNvSpPr>
          <p:nvPr>
            <p:ph type="pic" sz="quarter" idx="10"/>
          </p:nvPr>
        </p:nvSpPr>
        <p:spPr/>
      </p:sp>
      <p:sp>
        <p:nvSpPr>
          <p:cNvPr id="3" name="Slide Number Placeholder 2">
            <a:extLst>
              <a:ext uri="{FF2B5EF4-FFF2-40B4-BE49-F238E27FC236}">
                <a16:creationId xmlns:a16="http://schemas.microsoft.com/office/drawing/2014/main" id="{24983955-4DCE-EA41-9E22-B9A724008FED}"/>
              </a:ext>
            </a:extLst>
          </p:cNvPr>
          <p:cNvSpPr>
            <a:spLocks noGrp="1"/>
          </p:cNvSpPr>
          <p:nvPr>
            <p:ph type="sldNum" sz="quarter" idx="4"/>
          </p:nvPr>
        </p:nvSpPr>
        <p:spPr/>
        <p:txBody>
          <a:bodyPr/>
          <a:lstStyle/>
          <a:p>
            <a:fld id="{CCC91EE0-52FC-AE4F-BCCE-CF8E45753813}" type="slidenum">
              <a:rPr lang="en-GB" smtClean="0"/>
              <a:pPr/>
              <a:t>11</a:t>
            </a:fld>
            <a:endParaRPr lang="en-GB" dirty="0"/>
          </a:p>
        </p:txBody>
      </p:sp>
      <p:sp>
        <p:nvSpPr>
          <p:cNvPr id="4" name="Footer Placeholder 3">
            <a:extLst>
              <a:ext uri="{FF2B5EF4-FFF2-40B4-BE49-F238E27FC236}">
                <a16:creationId xmlns:a16="http://schemas.microsoft.com/office/drawing/2014/main" id="{CE09C078-5A8E-0E4F-ACF8-BC1739A146DE}"/>
              </a:ext>
            </a:extLst>
          </p:cNvPr>
          <p:cNvSpPr>
            <a:spLocks noGrp="1"/>
          </p:cNvSpPr>
          <p:nvPr>
            <p:ph type="ftr" sz="quarter" idx="14"/>
          </p:nvPr>
        </p:nvSpPr>
        <p:spPr/>
        <p:txBody>
          <a:bodyPr/>
          <a:lstStyle/>
          <a:p>
            <a:endParaRPr lang="en-GB"/>
          </a:p>
        </p:txBody>
      </p:sp>
      <p:sp>
        <p:nvSpPr>
          <p:cNvPr id="7" name="Text Placeholder 6">
            <a:extLst>
              <a:ext uri="{FF2B5EF4-FFF2-40B4-BE49-F238E27FC236}">
                <a16:creationId xmlns:a16="http://schemas.microsoft.com/office/drawing/2014/main" id="{A1E3002D-600A-B445-A396-949C77FAB6C6}"/>
              </a:ext>
            </a:extLst>
          </p:cNvPr>
          <p:cNvSpPr>
            <a:spLocks noGrp="1"/>
          </p:cNvSpPr>
          <p:nvPr>
            <p:ph type="body" sz="quarter" idx="15"/>
          </p:nvPr>
        </p:nvSpPr>
        <p:spPr/>
        <p:txBody>
          <a:bodyPr/>
          <a:lstStyle/>
          <a:p>
            <a:r>
              <a:rPr lang="en-US" dirty="0"/>
              <a:t>Example Outputs</a:t>
            </a:r>
          </a:p>
        </p:txBody>
      </p:sp>
      <p:sp>
        <p:nvSpPr>
          <p:cNvPr id="6" name="Text Placeholder 5">
            <a:extLst>
              <a:ext uri="{FF2B5EF4-FFF2-40B4-BE49-F238E27FC236}">
                <a16:creationId xmlns:a16="http://schemas.microsoft.com/office/drawing/2014/main" id="{927E30DB-9644-9F4F-ACB7-6F2180A3D2F7}"/>
              </a:ext>
            </a:extLst>
          </p:cNvPr>
          <p:cNvSpPr>
            <a:spLocks noGrp="1"/>
          </p:cNvSpPr>
          <p:nvPr>
            <p:ph type="body" sz="quarter" idx="13"/>
          </p:nvPr>
        </p:nvSpPr>
        <p:spPr/>
        <p:txBody>
          <a:bodyPr/>
          <a:lstStyle/>
          <a:p>
            <a:r>
              <a:rPr lang="en-US" dirty="0"/>
              <a:t>03</a:t>
            </a:r>
          </a:p>
        </p:txBody>
      </p:sp>
      <p:sp>
        <p:nvSpPr>
          <p:cNvPr id="9" name="Text Placeholder 8">
            <a:extLst>
              <a:ext uri="{FF2B5EF4-FFF2-40B4-BE49-F238E27FC236}">
                <a16:creationId xmlns:a16="http://schemas.microsoft.com/office/drawing/2014/main" id="{FCDCAD29-6E6F-FE47-8F1C-326D32C710D3}"/>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8958172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AF87AD-814F-4602-AD2B-D2443E5F6244}"/>
              </a:ext>
            </a:extLst>
          </p:cNvPr>
          <p:cNvSpPr>
            <a:spLocks noGrp="1"/>
          </p:cNvSpPr>
          <p:nvPr>
            <p:ph type="sldNum" sz="quarter" idx="4"/>
          </p:nvPr>
        </p:nvSpPr>
        <p:spPr/>
        <p:txBody>
          <a:bodyPr/>
          <a:lstStyle/>
          <a:p>
            <a:fld id="{CCC91EE0-52FC-AE4F-BCCE-CF8E45753813}" type="slidenum">
              <a:rPr lang="en-GB" smtClean="0"/>
              <a:pPr/>
              <a:t>12</a:t>
            </a:fld>
            <a:endParaRPr lang="en-GB" dirty="0"/>
          </a:p>
        </p:txBody>
      </p:sp>
      <p:sp>
        <p:nvSpPr>
          <p:cNvPr id="3" name="Footer Placeholder 2">
            <a:extLst>
              <a:ext uri="{FF2B5EF4-FFF2-40B4-BE49-F238E27FC236}">
                <a16:creationId xmlns:a16="http://schemas.microsoft.com/office/drawing/2014/main" id="{A8BD17C5-544A-4C85-9DCD-DA562B4EAFE5}"/>
              </a:ext>
            </a:extLst>
          </p:cNvPr>
          <p:cNvSpPr>
            <a:spLocks noGrp="1"/>
          </p:cNvSpPr>
          <p:nvPr>
            <p:ph type="ftr" sz="quarter" idx="14"/>
          </p:nvPr>
        </p:nvSpPr>
        <p:spPr/>
        <p:txBody>
          <a:bodyPr/>
          <a:lstStyle/>
          <a:p>
            <a:endParaRPr lang="en-GB"/>
          </a:p>
        </p:txBody>
      </p:sp>
      <p:sp>
        <p:nvSpPr>
          <p:cNvPr id="4" name="Title 3">
            <a:extLst>
              <a:ext uri="{FF2B5EF4-FFF2-40B4-BE49-F238E27FC236}">
                <a16:creationId xmlns:a16="http://schemas.microsoft.com/office/drawing/2014/main" id="{1761C23F-858B-4FE7-A7BB-9436B4667911}"/>
              </a:ext>
            </a:extLst>
          </p:cNvPr>
          <p:cNvSpPr>
            <a:spLocks noGrp="1"/>
          </p:cNvSpPr>
          <p:nvPr>
            <p:ph type="title"/>
          </p:nvPr>
        </p:nvSpPr>
        <p:spPr>
          <a:xfrm>
            <a:off x="334841" y="300381"/>
            <a:ext cx="11522319" cy="707886"/>
          </a:xfrm>
        </p:spPr>
        <p:txBody>
          <a:bodyPr/>
          <a:lstStyle/>
          <a:p>
            <a:r>
              <a:rPr lang="en-GB" dirty="0"/>
              <a:t>Example of static funnels: compare vs. market or specific brands</a:t>
            </a:r>
          </a:p>
        </p:txBody>
      </p:sp>
      <p:graphicFrame>
        <p:nvGraphicFramePr>
          <p:cNvPr id="5" name="Content Placeholder 8">
            <a:extLst>
              <a:ext uri="{FF2B5EF4-FFF2-40B4-BE49-F238E27FC236}">
                <a16:creationId xmlns:a16="http://schemas.microsoft.com/office/drawing/2014/main" id="{4433CF48-0D91-4B42-94FA-DA833B76320C}"/>
              </a:ext>
            </a:extLst>
          </p:cNvPr>
          <p:cNvGraphicFramePr>
            <a:graphicFrameLocks/>
          </p:cNvGraphicFramePr>
          <p:nvPr/>
        </p:nvGraphicFramePr>
        <p:xfrm>
          <a:off x="2642264" y="1767898"/>
          <a:ext cx="3453736" cy="36613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ontent Placeholder 8">
            <a:extLst>
              <a:ext uri="{FF2B5EF4-FFF2-40B4-BE49-F238E27FC236}">
                <a16:creationId xmlns:a16="http://schemas.microsoft.com/office/drawing/2014/main" id="{1CDFBE84-7F82-40F3-BBF3-472C45FA953D}"/>
              </a:ext>
            </a:extLst>
          </p:cNvPr>
          <p:cNvGraphicFramePr>
            <a:graphicFrameLocks/>
          </p:cNvGraphicFramePr>
          <p:nvPr/>
        </p:nvGraphicFramePr>
        <p:xfrm>
          <a:off x="334841" y="1767899"/>
          <a:ext cx="3648741" cy="366135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10">
            <a:extLst>
              <a:ext uri="{FF2B5EF4-FFF2-40B4-BE49-F238E27FC236}">
                <a16:creationId xmlns:a16="http://schemas.microsoft.com/office/drawing/2014/main" id="{E37F3485-A3AB-490B-A483-87B1EC0C33D6}"/>
              </a:ext>
            </a:extLst>
          </p:cNvPr>
          <p:cNvSpPr txBox="1">
            <a:spLocks/>
          </p:cNvSpPr>
          <p:nvPr/>
        </p:nvSpPr>
        <p:spPr>
          <a:xfrm>
            <a:off x="6689869" y="1833382"/>
            <a:ext cx="3028801" cy="3067050"/>
          </a:xfrm>
          <a:prstGeom prst="rect">
            <a:avLst/>
          </a:prstGeom>
        </p:spPr>
        <p:txBody>
          <a:bodyPr vert="horz" lIns="91440" tIns="45720" rIns="91440" bIns="45720" rtlCol="0">
            <a:normAutofit fontScale="92500"/>
          </a:bodyPr>
          <a:lstStyle>
            <a:lvl1pPr marL="0" indent="0" algn="l" defTabSz="1219170" rtl="0" eaLnBrk="1" latinLnBrk="0" hangingPunct="1">
              <a:lnSpc>
                <a:spcPct val="113000"/>
              </a:lnSpc>
              <a:spcBef>
                <a:spcPts val="1200"/>
              </a:spcBef>
              <a:buFont typeface="Arial"/>
              <a:buNone/>
              <a:defRPr sz="1200" b="0" i="0" kern="1200">
                <a:solidFill>
                  <a:schemeClr val="tx1"/>
                </a:solidFill>
                <a:latin typeface="+mn-lt"/>
                <a:ea typeface="Arial" panose="020B0604020202020204" pitchFamily="34" charset="0"/>
                <a:cs typeface="Arial" panose="020B0604020202020204" pitchFamily="34" charset="0"/>
              </a:defRPr>
            </a:lvl1pPr>
            <a:lvl2pPr marL="6351" indent="0" algn="l" defTabSz="1219170" rtl="0" eaLnBrk="1" latinLnBrk="0" hangingPunct="1">
              <a:lnSpc>
                <a:spcPct val="90000"/>
              </a:lnSpc>
              <a:spcBef>
                <a:spcPts val="667"/>
              </a:spcBef>
              <a:buFont typeface="Arial"/>
              <a:buNone/>
              <a:tabLst/>
              <a:defRPr sz="3200" b="1" i="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6351" indent="0" algn="l" defTabSz="1219170" rtl="0" eaLnBrk="1" latinLnBrk="0" hangingPunct="1">
              <a:lnSpc>
                <a:spcPct val="90000"/>
              </a:lnSpc>
              <a:spcBef>
                <a:spcPts val="667"/>
              </a:spcBef>
              <a:buFont typeface="Arial"/>
              <a:buNone/>
              <a:tabLst/>
              <a:defRPr sz="2000" kern="1200">
                <a:solidFill>
                  <a:schemeClr val="tx1"/>
                </a:solidFill>
                <a:latin typeface="Arial" panose="020B0604020202020204" pitchFamily="34" charset="0"/>
                <a:ea typeface="+mn-ea"/>
                <a:cs typeface="Arial" panose="020B0604020202020204" pitchFamily="34" charset="0"/>
              </a:defRPr>
            </a:lvl3pPr>
            <a:lvl4pPr marL="239178" indent="-232828" algn="l" defTabSz="1219170" rtl="0" eaLnBrk="1" latinLnBrk="0" hangingPunct="1">
              <a:lnSpc>
                <a:spcPct val="90000"/>
              </a:lnSpc>
              <a:spcBef>
                <a:spcPts val="667"/>
              </a:spcBef>
              <a:buFont typeface="Arial" charset="0"/>
              <a:buChar char="•"/>
              <a:tabLst/>
              <a:defRPr sz="1600" b="0" i="0" kern="1200">
                <a:solidFill>
                  <a:schemeClr val="tx1"/>
                </a:solidFill>
                <a:latin typeface="Arial" panose="020B0604020202020204" pitchFamily="34" charset="0"/>
                <a:ea typeface="Arial Narrow" panose="020B0604020202020204" pitchFamily="34" charset="0"/>
                <a:cs typeface="Arial" panose="020B0604020202020204" pitchFamily="34" charset="0"/>
              </a:defRPr>
            </a:lvl4pPr>
            <a:lvl5pPr marL="474121" indent="-234945" algn="l" defTabSz="1219170" rtl="0" eaLnBrk="1" latinLnBrk="0" hangingPunct="1">
              <a:lnSpc>
                <a:spcPct val="90000"/>
              </a:lnSpc>
              <a:spcBef>
                <a:spcPts val="667"/>
              </a:spcBef>
              <a:buFont typeface="Arial"/>
              <a:buChar char="•"/>
              <a:tabLst/>
              <a:defRPr sz="1600" b="0" i="0" kern="1200">
                <a:solidFill>
                  <a:schemeClr val="tx1"/>
                </a:solidFill>
                <a:latin typeface="Arial" panose="020B0604020202020204" pitchFamily="34" charset="0"/>
                <a:ea typeface="Arial Narrow" panose="020B0604020202020204" pitchFamily="34" charset="0"/>
                <a:cs typeface="Arial" panose="020B0604020202020204" pitchFamily="34" charset="0"/>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a:lstStyle>
          <a:p>
            <a:pPr fontAlgn="auto">
              <a:spcAft>
                <a:spcPts val="0"/>
              </a:spcAft>
            </a:pPr>
            <a:r>
              <a:rPr lang="en-GB" dirty="0"/>
              <a:t>Taking the static view we will be able to benchmark Trustpilot’s profile for a given product group versus the market</a:t>
            </a:r>
          </a:p>
          <a:p>
            <a:pPr fontAlgn="auto">
              <a:spcAft>
                <a:spcPts val="0"/>
              </a:spcAft>
            </a:pPr>
            <a:endParaRPr lang="en-GB" dirty="0"/>
          </a:p>
          <a:p>
            <a:pPr fontAlgn="auto">
              <a:spcAft>
                <a:spcPts val="0"/>
              </a:spcAft>
            </a:pPr>
            <a:r>
              <a:rPr lang="en-GB" dirty="0"/>
              <a:t>A comparison of Trustpilot versus the market would be done at any audience required e.g. B2B and/or B2C</a:t>
            </a:r>
          </a:p>
          <a:p>
            <a:pPr fontAlgn="auto">
              <a:spcAft>
                <a:spcPts val="0"/>
              </a:spcAft>
            </a:pPr>
            <a:endParaRPr lang="en-GB" dirty="0"/>
          </a:p>
          <a:p>
            <a:pPr fontAlgn="auto">
              <a:spcAft>
                <a:spcPts val="0"/>
              </a:spcAft>
            </a:pPr>
            <a:r>
              <a:rPr lang="en-GB" b="1" i="1" dirty="0"/>
              <a:t>N.B </a:t>
            </a:r>
            <a:r>
              <a:rPr lang="en-GB" i="1" dirty="0"/>
              <a:t>the metrics shown here are example metrics- we would select the relevant ones from the Trustpilot Tracker/</a:t>
            </a:r>
            <a:r>
              <a:rPr lang="en-GB" i="1" dirty="0" err="1"/>
              <a:t>Yougov</a:t>
            </a:r>
            <a:r>
              <a:rPr lang="en-GB" i="1" dirty="0"/>
              <a:t>, so they are specific to the brand and category</a:t>
            </a:r>
          </a:p>
        </p:txBody>
      </p:sp>
      <p:sp>
        <p:nvSpPr>
          <p:cNvPr id="8" name="TextBox 7">
            <a:extLst>
              <a:ext uri="{FF2B5EF4-FFF2-40B4-BE49-F238E27FC236}">
                <a16:creationId xmlns:a16="http://schemas.microsoft.com/office/drawing/2014/main" id="{195C60BE-8E30-4B93-983F-2709DFF4CEEF}"/>
              </a:ext>
            </a:extLst>
          </p:cNvPr>
          <p:cNvSpPr txBox="1"/>
          <p:nvPr/>
        </p:nvSpPr>
        <p:spPr>
          <a:xfrm>
            <a:off x="2530978" y="1502710"/>
            <a:ext cx="639919" cy="253916"/>
          </a:xfrm>
          <a:prstGeom prst="rect">
            <a:avLst/>
          </a:prstGeom>
          <a:noFill/>
          <a:effectLst/>
        </p:spPr>
        <p:txBody>
          <a:bodyPr wrap="none" rtlCol="0">
            <a:spAutoFit/>
          </a:bodyPr>
          <a:lstStyle>
            <a:defPPr>
              <a:defRPr lang="en-US"/>
            </a:defPPr>
            <a:lvl1pPr algn="ctr">
              <a:defRPr sz="1400">
                <a:latin typeface="+mj-lt"/>
                <a:cs typeface="Rockwell"/>
              </a:defRPr>
            </a:lvl1pPr>
          </a:lstStyle>
          <a:p>
            <a:pPr defTabSz="685800" fontAlgn="auto">
              <a:spcBef>
                <a:spcPts val="0"/>
              </a:spcBef>
              <a:spcAft>
                <a:spcPts val="0"/>
              </a:spcAft>
            </a:pPr>
            <a:r>
              <a:rPr lang="en-GB" sz="1050" kern="0" dirty="0">
                <a:solidFill>
                  <a:sysClr val="windowText" lastClr="000000"/>
                </a:solidFill>
              </a:rPr>
              <a:t>Market</a:t>
            </a:r>
          </a:p>
        </p:txBody>
      </p:sp>
      <p:sp>
        <p:nvSpPr>
          <p:cNvPr id="9" name="TextBox 8">
            <a:extLst>
              <a:ext uri="{FF2B5EF4-FFF2-40B4-BE49-F238E27FC236}">
                <a16:creationId xmlns:a16="http://schemas.microsoft.com/office/drawing/2014/main" id="{EA2D32E8-9950-4263-A19C-984B32F9BDD6}"/>
              </a:ext>
            </a:extLst>
          </p:cNvPr>
          <p:cNvSpPr txBox="1"/>
          <p:nvPr/>
        </p:nvSpPr>
        <p:spPr>
          <a:xfrm>
            <a:off x="4686878" y="1534974"/>
            <a:ext cx="681597" cy="253916"/>
          </a:xfrm>
          <a:prstGeom prst="rect">
            <a:avLst/>
          </a:prstGeom>
          <a:noFill/>
          <a:effectLst/>
        </p:spPr>
        <p:txBody>
          <a:bodyPr wrap="none" rtlCol="0">
            <a:spAutoFit/>
          </a:bodyPr>
          <a:lstStyle/>
          <a:p>
            <a:pPr algn="ctr" defTabSz="685800" fontAlgn="auto">
              <a:spcBef>
                <a:spcPts val="0"/>
              </a:spcBef>
              <a:spcAft>
                <a:spcPts val="0"/>
              </a:spcAft>
            </a:pPr>
            <a:r>
              <a:rPr lang="en-GB" sz="1050" kern="0" dirty="0">
                <a:solidFill>
                  <a:sysClr val="windowText" lastClr="000000"/>
                </a:solidFill>
                <a:latin typeface="+mj-lt"/>
                <a:cs typeface="Rockwell"/>
              </a:rPr>
              <a:t>Client X</a:t>
            </a:r>
          </a:p>
        </p:txBody>
      </p:sp>
    </p:spTree>
    <p:extLst>
      <p:ext uri="{BB962C8B-B14F-4D97-AF65-F5344CB8AC3E}">
        <p14:creationId xmlns:p14="http://schemas.microsoft.com/office/powerpoint/2010/main" val="27936585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AF87AD-814F-4602-AD2B-D2443E5F6244}"/>
              </a:ext>
            </a:extLst>
          </p:cNvPr>
          <p:cNvSpPr>
            <a:spLocks noGrp="1"/>
          </p:cNvSpPr>
          <p:nvPr>
            <p:ph type="sldNum" sz="quarter" idx="4"/>
          </p:nvPr>
        </p:nvSpPr>
        <p:spPr/>
        <p:txBody>
          <a:bodyPr/>
          <a:lstStyle/>
          <a:p>
            <a:fld id="{CCC91EE0-52FC-AE4F-BCCE-CF8E45753813}" type="slidenum">
              <a:rPr lang="en-GB" smtClean="0"/>
              <a:pPr/>
              <a:t>13</a:t>
            </a:fld>
            <a:endParaRPr lang="en-GB" dirty="0"/>
          </a:p>
        </p:txBody>
      </p:sp>
      <p:sp>
        <p:nvSpPr>
          <p:cNvPr id="3" name="Footer Placeholder 2">
            <a:extLst>
              <a:ext uri="{FF2B5EF4-FFF2-40B4-BE49-F238E27FC236}">
                <a16:creationId xmlns:a16="http://schemas.microsoft.com/office/drawing/2014/main" id="{A8BD17C5-544A-4C85-9DCD-DA562B4EAFE5}"/>
              </a:ext>
            </a:extLst>
          </p:cNvPr>
          <p:cNvSpPr>
            <a:spLocks noGrp="1"/>
          </p:cNvSpPr>
          <p:nvPr>
            <p:ph type="ftr" sz="quarter" idx="14"/>
          </p:nvPr>
        </p:nvSpPr>
        <p:spPr/>
        <p:txBody>
          <a:bodyPr/>
          <a:lstStyle/>
          <a:p>
            <a:endParaRPr lang="en-GB"/>
          </a:p>
        </p:txBody>
      </p:sp>
      <p:sp>
        <p:nvSpPr>
          <p:cNvPr id="4" name="Title 3">
            <a:extLst>
              <a:ext uri="{FF2B5EF4-FFF2-40B4-BE49-F238E27FC236}">
                <a16:creationId xmlns:a16="http://schemas.microsoft.com/office/drawing/2014/main" id="{1761C23F-858B-4FE7-A7BB-9436B4667911}"/>
              </a:ext>
            </a:extLst>
          </p:cNvPr>
          <p:cNvSpPr>
            <a:spLocks noGrp="1"/>
          </p:cNvSpPr>
          <p:nvPr>
            <p:ph type="title"/>
          </p:nvPr>
        </p:nvSpPr>
        <p:spPr>
          <a:xfrm>
            <a:off x="334841" y="300381"/>
            <a:ext cx="11522319" cy="707886"/>
          </a:xfrm>
        </p:spPr>
        <p:txBody>
          <a:bodyPr/>
          <a:lstStyle/>
          <a:p>
            <a:r>
              <a:rPr lang="en-GB" dirty="0"/>
              <a:t>Example of static funnels: can we measure an impact mid-burst?</a:t>
            </a:r>
          </a:p>
        </p:txBody>
      </p:sp>
      <p:graphicFrame>
        <p:nvGraphicFramePr>
          <p:cNvPr id="10" name="Content Placeholder 3">
            <a:extLst>
              <a:ext uri="{FF2B5EF4-FFF2-40B4-BE49-F238E27FC236}">
                <a16:creationId xmlns:a16="http://schemas.microsoft.com/office/drawing/2014/main" id="{D6C70113-1740-42C0-A628-06E9E9DFAA79}"/>
              </a:ext>
            </a:extLst>
          </p:cNvPr>
          <p:cNvGraphicFramePr>
            <a:graphicFrameLocks/>
          </p:cNvGraphicFramePr>
          <p:nvPr>
            <p:extLst>
              <p:ext uri="{D42A27DB-BD31-4B8C-83A1-F6EECF244321}">
                <p14:modId xmlns:p14="http://schemas.microsoft.com/office/powerpoint/2010/main" val="4193234595"/>
              </p:ext>
            </p:extLst>
          </p:nvPr>
        </p:nvGraphicFramePr>
        <p:xfrm>
          <a:off x="8007071" y="2139077"/>
          <a:ext cx="457727" cy="3626517"/>
        </p:xfrm>
        <a:graphic>
          <a:graphicData uri="http://schemas.openxmlformats.org/drawingml/2006/table">
            <a:tbl>
              <a:tblPr firstRow="1" bandRow="1">
                <a:tableStyleId>{073A0DAA-6AF3-43AB-8588-CEC1D06C72B9}</a:tableStyleId>
              </a:tblPr>
              <a:tblGrid>
                <a:gridCol w="457727">
                  <a:extLst>
                    <a:ext uri="{9D8B030D-6E8A-4147-A177-3AD203B41FA5}">
                      <a16:colId xmlns:a16="http://schemas.microsoft.com/office/drawing/2014/main" val="20000"/>
                    </a:ext>
                  </a:extLst>
                </a:gridCol>
              </a:tblGrid>
              <a:tr h="456161">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900" b="0" dirty="0">
                          <a:solidFill>
                            <a:schemeClr val="tx1"/>
                          </a:solidFill>
                          <a:sym typeface="Wingdings"/>
                        </a:rPr>
                        <a:t>(</a:t>
                      </a:r>
                      <a:r>
                        <a:rPr lang="en-GB" sz="900" b="0" dirty="0">
                          <a:solidFill>
                            <a:srgbClr val="92D050"/>
                          </a:solidFill>
                          <a:sym typeface="Wingdings"/>
                        </a:rPr>
                        <a:t></a:t>
                      </a:r>
                      <a:r>
                        <a:rPr lang="en-GB" sz="900" b="0" dirty="0">
                          <a:solidFill>
                            <a:schemeClr val="tx1"/>
                          </a:solidFill>
                          <a:sym typeface="Wingdings"/>
                        </a:rPr>
                        <a:t>)</a:t>
                      </a:r>
                      <a:endParaRPr lang="en-GB" sz="900" b="0" dirty="0">
                        <a:solidFill>
                          <a:schemeClr val="tx1"/>
                        </a:solidFill>
                        <a:latin typeface="+mn-lt"/>
                        <a:cs typeface="Rockwell"/>
                      </a:endParaRPr>
                    </a:p>
                  </a:txBody>
                  <a:tcPr marL="68580" marR="68580" marT="34290" marB="34290" anchor="ctr">
                    <a:solidFill>
                      <a:schemeClr val="bg1"/>
                    </a:solidFill>
                  </a:tcPr>
                </a:tc>
                <a:extLst>
                  <a:ext uri="{0D108BD9-81ED-4DB2-BD59-A6C34878D82A}">
                    <a16:rowId xmlns:a16="http://schemas.microsoft.com/office/drawing/2014/main" val="10000"/>
                  </a:ext>
                </a:extLst>
              </a:tr>
              <a:tr h="425265">
                <a:tc>
                  <a:txBody>
                    <a:bodyPr/>
                    <a:lstStyle/>
                    <a:p>
                      <a:pPr algn="ctr"/>
                      <a:r>
                        <a:rPr lang="en-GB" sz="900" dirty="0">
                          <a:latin typeface="+mn-lt"/>
                          <a:cs typeface="Rockwell"/>
                          <a:sym typeface="Wingdings"/>
                        </a:rPr>
                        <a:t>   </a:t>
                      </a:r>
                      <a:endParaRPr lang="en-GB" sz="900" dirty="0"/>
                    </a:p>
                  </a:txBody>
                  <a:tcPr marL="68580" marR="68580" marT="34290" marB="34290" anchor="ctr">
                    <a:solidFill>
                      <a:schemeClr val="bg1"/>
                    </a:solidFill>
                  </a:tcPr>
                </a:tc>
                <a:extLst>
                  <a:ext uri="{0D108BD9-81ED-4DB2-BD59-A6C34878D82A}">
                    <a16:rowId xmlns:a16="http://schemas.microsoft.com/office/drawing/2014/main" val="10001"/>
                  </a:ext>
                </a:extLst>
              </a:tr>
              <a:tr h="524894">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solidFill>
                          <a:schemeClr val="tx1"/>
                        </a:solidFill>
                        <a:latin typeface="+mn-lt"/>
                        <a:cs typeface="Rockwell"/>
                      </a:endParaRPr>
                    </a:p>
                  </a:txBody>
                  <a:tcPr marL="68580" marR="68580" marT="34290" marB="34290" anchor="ctr">
                    <a:solidFill>
                      <a:schemeClr val="bg1"/>
                    </a:solidFill>
                  </a:tcPr>
                </a:tc>
                <a:extLst>
                  <a:ext uri="{0D108BD9-81ED-4DB2-BD59-A6C34878D82A}">
                    <a16:rowId xmlns:a16="http://schemas.microsoft.com/office/drawing/2014/main" val="10002"/>
                  </a:ext>
                </a:extLst>
              </a:tr>
              <a:tr h="40605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solidFill>
                          <a:schemeClr val="tx1"/>
                        </a:solidFill>
                        <a:latin typeface="+mn-lt"/>
                        <a:cs typeface="Rockwell"/>
                      </a:endParaRPr>
                    </a:p>
                  </a:txBody>
                  <a:tcPr marL="68580" marR="68580" marT="34290" marB="34290" anchor="ctr">
                    <a:solidFill>
                      <a:schemeClr val="bg1"/>
                    </a:solidFill>
                  </a:tcPr>
                </a:tc>
                <a:extLst>
                  <a:ext uri="{0D108BD9-81ED-4DB2-BD59-A6C34878D82A}">
                    <a16:rowId xmlns:a16="http://schemas.microsoft.com/office/drawing/2014/main" val="10003"/>
                  </a:ext>
                </a:extLst>
              </a:tr>
              <a:tr h="445664">
                <a:tc>
                  <a:txBody>
                    <a:bodyPr/>
                    <a:lstStyle/>
                    <a:p>
                      <a:pPr algn="ct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p>
                  </a:txBody>
                  <a:tcPr marL="68580" marR="68580" marT="34290" marB="34290" anchor="ctr">
                    <a:solidFill>
                      <a:schemeClr val="bg1"/>
                    </a:solidFill>
                  </a:tcPr>
                </a:tc>
                <a:extLst>
                  <a:ext uri="{0D108BD9-81ED-4DB2-BD59-A6C34878D82A}">
                    <a16:rowId xmlns:a16="http://schemas.microsoft.com/office/drawing/2014/main" val="10004"/>
                  </a:ext>
                </a:extLst>
              </a:tr>
              <a:tr h="456161">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900" dirty="0">
                          <a:latin typeface="+mn-lt"/>
                          <a:cs typeface="Rockwell"/>
                          <a:sym typeface="Wingdings"/>
                        </a:rPr>
                        <a:t></a:t>
                      </a:r>
                      <a:endParaRPr lang="en-GB" sz="900" dirty="0">
                        <a:solidFill>
                          <a:schemeClr val="tx1"/>
                        </a:solidFill>
                        <a:latin typeface="+mn-lt"/>
                        <a:cs typeface="Rockwell"/>
                      </a:endParaRPr>
                    </a:p>
                  </a:txBody>
                  <a:tcPr marL="68580" marR="68580" marT="34290" marB="34290" anchor="ctr">
                    <a:solidFill>
                      <a:schemeClr val="bg1"/>
                    </a:solidFill>
                  </a:tcPr>
                </a:tc>
                <a:extLst>
                  <a:ext uri="{0D108BD9-81ED-4DB2-BD59-A6C34878D82A}">
                    <a16:rowId xmlns:a16="http://schemas.microsoft.com/office/drawing/2014/main" val="10005"/>
                  </a:ext>
                </a:extLst>
              </a:tr>
              <a:tr h="456161">
                <a:tc>
                  <a:txBody>
                    <a:bodyPr/>
                    <a:lstStyle/>
                    <a:p>
                      <a:pPr algn="ctr"/>
                      <a:r>
                        <a:rPr lang="en-GB" sz="900" dirty="0">
                          <a:latin typeface="+mn-lt"/>
                          <a:cs typeface="Rockwell"/>
                          <a:sym typeface="Wingdings"/>
                        </a:rPr>
                        <a:t></a:t>
                      </a:r>
                      <a:endParaRPr lang="en-GB" sz="900" dirty="0"/>
                    </a:p>
                  </a:txBody>
                  <a:tcPr marL="68580" marR="68580" marT="34290" marB="34290" anchor="ctr">
                    <a:solidFill>
                      <a:schemeClr val="bg1"/>
                    </a:solidFill>
                  </a:tcPr>
                </a:tc>
                <a:extLst>
                  <a:ext uri="{0D108BD9-81ED-4DB2-BD59-A6C34878D82A}">
                    <a16:rowId xmlns:a16="http://schemas.microsoft.com/office/drawing/2014/main" val="10006"/>
                  </a:ext>
                </a:extLst>
              </a:tr>
              <a:tr h="456161">
                <a:tc>
                  <a:txBody>
                    <a:bodyPr/>
                    <a:lstStyle/>
                    <a:p>
                      <a:pPr algn="ct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p>
                  </a:txBody>
                  <a:tcPr marL="68580" marR="68580" marT="34290" marB="34290" anchor="ctr">
                    <a:solidFill>
                      <a:schemeClr val="bg1"/>
                    </a:solidFill>
                  </a:tcPr>
                </a:tc>
                <a:extLst>
                  <a:ext uri="{0D108BD9-81ED-4DB2-BD59-A6C34878D82A}">
                    <a16:rowId xmlns:a16="http://schemas.microsoft.com/office/drawing/2014/main" val="10007"/>
                  </a:ext>
                </a:extLst>
              </a:tr>
            </a:tbl>
          </a:graphicData>
        </a:graphic>
      </p:graphicFrame>
      <p:graphicFrame>
        <p:nvGraphicFramePr>
          <p:cNvPr id="11" name="Content Placeholder 3">
            <a:extLst>
              <a:ext uri="{FF2B5EF4-FFF2-40B4-BE49-F238E27FC236}">
                <a16:creationId xmlns:a16="http://schemas.microsoft.com/office/drawing/2014/main" id="{39A36780-9E1F-4C72-A10D-8F905E8312BF}"/>
              </a:ext>
            </a:extLst>
          </p:cNvPr>
          <p:cNvGraphicFramePr>
            <a:graphicFrameLocks/>
          </p:cNvGraphicFramePr>
          <p:nvPr>
            <p:extLst>
              <p:ext uri="{D42A27DB-BD31-4B8C-83A1-F6EECF244321}">
                <p14:modId xmlns:p14="http://schemas.microsoft.com/office/powerpoint/2010/main" val="1515983955"/>
              </p:ext>
            </p:extLst>
          </p:nvPr>
        </p:nvGraphicFramePr>
        <p:xfrm>
          <a:off x="6968873" y="2120234"/>
          <a:ext cx="454289" cy="3626517"/>
        </p:xfrm>
        <a:graphic>
          <a:graphicData uri="http://schemas.openxmlformats.org/drawingml/2006/table">
            <a:tbl>
              <a:tblPr firstRow="1" bandRow="1">
                <a:tableStyleId>{073A0DAA-6AF3-43AB-8588-CEC1D06C72B9}</a:tableStyleId>
              </a:tblPr>
              <a:tblGrid>
                <a:gridCol w="454289">
                  <a:extLst>
                    <a:ext uri="{9D8B030D-6E8A-4147-A177-3AD203B41FA5}">
                      <a16:colId xmlns:a16="http://schemas.microsoft.com/office/drawing/2014/main" val="20000"/>
                    </a:ext>
                  </a:extLst>
                </a:gridCol>
              </a:tblGrid>
              <a:tr h="449651">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900" b="0" dirty="0">
                          <a:solidFill>
                            <a:schemeClr val="tx1"/>
                          </a:solidFill>
                          <a:sym typeface="Wingdings"/>
                        </a:rPr>
                        <a:t>(</a:t>
                      </a:r>
                      <a:r>
                        <a:rPr lang="en-GB" sz="900" b="0" dirty="0">
                          <a:solidFill>
                            <a:srgbClr val="92D050"/>
                          </a:solidFill>
                          <a:sym typeface="Wingdings"/>
                        </a:rPr>
                        <a:t></a:t>
                      </a:r>
                      <a:r>
                        <a:rPr lang="en-GB" sz="900" b="0" dirty="0">
                          <a:solidFill>
                            <a:schemeClr val="tx1"/>
                          </a:solidFill>
                          <a:sym typeface="Wingdings"/>
                        </a:rPr>
                        <a:t>)</a:t>
                      </a:r>
                      <a:endParaRPr lang="en-GB" sz="900" b="0" dirty="0">
                        <a:solidFill>
                          <a:schemeClr val="tx1"/>
                        </a:solidFill>
                        <a:latin typeface="+mn-lt"/>
                        <a:cs typeface="Rockwell"/>
                      </a:endParaRPr>
                    </a:p>
                  </a:txBody>
                  <a:tcPr marL="68580" marR="68580" marT="34290" marB="34290" anchor="ctr">
                    <a:solidFill>
                      <a:schemeClr val="bg1"/>
                    </a:solidFill>
                  </a:tcPr>
                </a:tc>
                <a:extLst>
                  <a:ext uri="{0D108BD9-81ED-4DB2-BD59-A6C34878D82A}">
                    <a16:rowId xmlns:a16="http://schemas.microsoft.com/office/drawing/2014/main" val="10000"/>
                  </a:ext>
                </a:extLst>
              </a:tr>
              <a:tr h="470953">
                <a:tc>
                  <a:txBody>
                    <a:bodyPr/>
                    <a:lstStyle/>
                    <a:p>
                      <a:pPr algn="ctr"/>
                      <a:r>
                        <a:rPr lang="en-GB" sz="900" dirty="0">
                          <a:latin typeface="+mn-lt"/>
                          <a:cs typeface="Rockwell"/>
                          <a:sym typeface="Wingdings"/>
                        </a:rPr>
                        <a:t>        </a:t>
                      </a:r>
                      <a:endParaRPr lang="en-GB" sz="900" dirty="0"/>
                    </a:p>
                  </a:txBody>
                  <a:tcPr marL="68580" marR="68580" marT="34290" marB="34290" anchor="ctr">
                    <a:solidFill>
                      <a:schemeClr val="bg1"/>
                    </a:solidFill>
                  </a:tcPr>
                </a:tc>
                <a:extLst>
                  <a:ext uri="{0D108BD9-81ED-4DB2-BD59-A6C34878D82A}">
                    <a16:rowId xmlns:a16="http://schemas.microsoft.com/office/drawing/2014/main" val="10001"/>
                  </a:ext>
                </a:extLst>
              </a:tr>
              <a:tr h="51740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solidFill>
                          <a:schemeClr val="tx1"/>
                        </a:solidFill>
                        <a:latin typeface="+mn-lt"/>
                        <a:cs typeface="Rockwell"/>
                      </a:endParaRPr>
                    </a:p>
                  </a:txBody>
                  <a:tcPr marL="68580" marR="68580" marT="34290" marB="34290" anchor="ctr">
                    <a:solidFill>
                      <a:schemeClr val="bg1"/>
                    </a:solidFill>
                  </a:tcPr>
                </a:tc>
                <a:extLst>
                  <a:ext uri="{0D108BD9-81ED-4DB2-BD59-A6C34878D82A}">
                    <a16:rowId xmlns:a16="http://schemas.microsoft.com/office/drawing/2014/main" val="10002"/>
                  </a:ext>
                </a:extLst>
              </a:tr>
              <a:tr h="40025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solidFill>
                          <a:schemeClr val="tx1"/>
                        </a:solidFill>
                        <a:latin typeface="+mn-lt"/>
                        <a:cs typeface="Rockwell"/>
                      </a:endParaRPr>
                    </a:p>
                  </a:txBody>
                  <a:tcPr marL="68580" marR="68580" marT="34290" marB="34290" anchor="ctr">
                    <a:solidFill>
                      <a:schemeClr val="bg1"/>
                    </a:solidFill>
                  </a:tcPr>
                </a:tc>
                <a:extLst>
                  <a:ext uri="{0D108BD9-81ED-4DB2-BD59-A6C34878D82A}">
                    <a16:rowId xmlns:a16="http://schemas.microsoft.com/office/drawing/2014/main" val="10003"/>
                  </a:ext>
                </a:extLst>
              </a:tr>
              <a:tr h="439303">
                <a:tc>
                  <a:txBody>
                    <a:bodyPr/>
                    <a:lstStyle/>
                    <a:p>
                      <a:pPr algn="ct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p>
                  </a:txBody>
                  <a:tcPr marL="68580" marR="68580" marT="34290" marB="34290" anchor="ctr">
                    <a:solidFill>
                      <a:schemeClr val="bg1"/>
                    </a:solidFill>
                  </a:tcPr>
                </a:tc>
                <a:extLst>
                  <a:ext uri="{0D108BD9-81ED-4DB2-BD59-A6C34878D82A}">
                    <a16:rowId xmlns:a16="http://schemas.microsoft.com/office/drawing/2014/main" val="10004"/>
                  </a:ext>
                </a:extLst>
              </a:tr>
              <a:tr h="449651">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solidFill>
                          <a:schemeClr val="tx1"/>
                        </a:solidFill>
                        <a:latin typeface="+mn-lt"/>
                        <a:cs typeface="Rockwell"/>
                      </a:endParaRPr>
                    </a:p>
                  </a:txBody>
                  <a:tcPr marL="68580" marR="68580" marT="34290" marB="34290" anchor="ctr">
                    <a:solidFill>
                      <a:schemeClr val="bg1"/>
                    </a:solidFill>
                  </a:tcPr>
                </a:tc>
                <a:extLst>
                  <a:ext uri="{0D108BD9-81ED-4DB2-BD59-A6C34878D82A}">
                    <a16:rowId xmlns:a16="http://schemas.microsoft.com/office/drawing/2014/main" val="10005"/>
                  </a:ext>
                </a:extLst>
              </a:tr>
              <a:tr h="449651">
                <a:tc>
                  <a:txBody>
                    <a:bodyPr/>
                    <a:lstStyle/>
                    <a:p>
                      <a:pPr algn="ctr"/>
                      <a:r>
                        <a:rPr lang="en-GB" sz="900" dirty="0">
                          <a:latin typeface="+mn-lt"/>
                          <a:cs typeface="Rockwell"/>
                          <a:sym typeface="Wingdings"/>
                        </a:rPr>
                        <a:t></a:t>
                      </a:r>
                      <a:endParaRPr lang="en-GB" sz="900" dirty="0"/>
                    </a:p>
                  </a:txBody>
                  <a:tcPr marL="68580" marR="68580" marT="34290" marB="34290" anchor="ctr">
                    <a:solidFill>
                      <a:schemeClr val="bg1"/>
                    </a:solidFill>
                  </a:tcPr>
                </a:tc>
                <a:extLst>
                  <a:ext uri="{0D108BD9-81ED-4DB2-BD59-A6C34878D82A}">
                    <a16:rowId xmlns:a16="http://schemas.microsoft.com/office/drawing/2014/main" val="10006"/>
                  </a:ext>
                </a:extLst>
              </a:tr>
              <a:tr h="449651">
                <a:tc>
                  <a:txBody>
                    <a:bodyPr/>
                    <a:lstStyle/>
                    <a:p>
                      <a:pPr algn="ct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p>
                  </a:txBody>
                  <a:tcPr marL="68580" marR="68580" marT="34290" marB="34290" anchor="ctr">
                    <a:solidFill>
                      <a:schemeClr val="bg1"/>
                    </a:solidFill>
                  </a:tcPr>
                </a:tc>
                <a:extLst>
                  <a:ext uri="{0D108BD9-81ED-4DB2-BD59-A6C34878D82A}">
                    <a16:rowId xmlns:a16="http://schemas.microsoft.com/office/drawing/2014/main" val="10007"/>
                  </a:ext>
                </a:extLst>
              </a:tr>
            </a:tbl>
          </a:graphicData>
        </a:graphic>
      </p:graphicFrame>
      <p:graphicFrame>
        <p:nvGraphicFramePr>
          <p:cNvPr id="12" name="Content Placeholder 6">
            <a:extLst>
              <a:ext uri="{FF2B5EF4-FFF2-40B4-BE49-F238E27FC236}">
                <a16:creationId xmlns:a16="http://schemas.microsoft.com/office/drawing/2014/main" id="{A78B0DA8-62EF-4057-B83C-9A728E08CDAD}"/>
              </a:ext>
            </a:extLst>
          </p:cNvPr>
          <p:cNvGraphicFramePr>
            <a:graphicFrameLocks/>
          </p:cNvGraphicFramePr>
          <p:nvPr>
            <p:extLst>
              <p:ext uri="{D42A27DB-BD31-4B8C-83A1-F6EECF244321}">
                <p14:modId xmlns:p14="http://schemas.microsoft.com/office/powerpoint/2010/main" val="1548960298"/>
              </p:ext>
            </p:extLst>
          </p:nvPr>
        </p:nvGraphicFramePr>
        <p:xfrm>
          <a:off x="747832" y="2014794"/>
          <a:ext cx="2856574" cy="3928806"/>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a:extLst>
              <a:ext uri="{FF2B5EF4-FFF2-40B4-BE49-F238E27FC236}">
                <a16:creationId xmlns:a16="http://schemas.microsoft.com/office/drawing/2014/main" id="{32939319-A785-4B2E-904A-6410C7EA407F}"/>
              </a:ext>
            </a:extLst>
          </p:cNvPr>
          <p:cNvSpPr txBox="1"/>
          <p:nvPr/>
        </p:nvSpPr>
        <p:spPr>
          <a:xfrm>
            <a:off x="1504673" y="1615504"/>
            <a:ext cx="2319866" cy="276999"/>
          </a:xfrm>
          <a:prstGeom prst="rect">
            <a:avLst/>
          </a:prstGeom>
          <a:noFill/>
          <a:effectLst/>
        </p:spPr>
        <p:txBody>
          <a:bodyPr wrap="square" rtlCol="0">
            <a:spAutoFit/>
          </a:bodyPr>
          <a:lstStyle/>
          <a:p>
            <a:pPr algn="ctr" defTabSz="685800" fontAlgn="auto">
              <a:spcBef>
                <a:spcPts val="0"/>
              </a:spcBef>
              <a:spcAft>
                <a:spcPts val="0"/>
              </a:spcAft>
            </a:pPr>
            <a:r>
              <a:rPr lang="en-GB" sz="1200" kern="0" dirty="0">
                <a:solidFill>
                  <a:sysClr val="windowText" lastClr="000000"/>
                </a:solidFill>
                <a:latin typeface="+mj-lt"/>
                <a:cs typeface="Rockwell"/>
              </a:rPr>
              <a:t>Campaign Start</a:t>
            </a:r>
            <a:endParaRPr lang="en-GB" sz="800" kern="0" dirty="0">
              <a:solidFill>
                <a:sysClr val="windowText" lastClr="000000"/>
              </a:solidFill>
              <a:latin typeface="+mj-lt"/>
              <a:cs typeface="Rockwell"/>
            </a:endParaRPr>
          </a:p>
        </p:txBody>
      </p:sp>
      <p:sp>
        <p:nvSpPr>
          <p:cNvPr id="14" name="TextBox 13">
            <a:extLst>
              <a:ext uri="{FF2B5EF4-FFF2-40B4-BE49-F238E27FC236}">
                <a16:creationId xmlns:a16="http://schemas.microsoft.com/office/drawing/2014/main" id="{64C825CC-7FB2-410B-8677-3FA0BB6C4C7F}"/>
              </a:ext>
            </a:extLst>
          </p:cNvPr>
          <p:cNvSpPr txBox="1"/>
          <p:nvPr/>
        </p:nvSpPr>
        <p:spPr>
          <a:xfrm>
            <a:off x="5015696" y="1615504"/>
            <a:ext cx="2319866" cy="276999"/>
          </a:xfrm>
          <a:prstGeom prst="rect">
            <a:avLst/>
          </a:prstGeom>
          <a:noFill/>
          <a:effectLst/>
        </p:spPr>
        <p:txBody>
          <a:bodyPr wrap="square" rtlCol="0">
            <a:spAutoFit/>
          </a:bodyPr>
          <a:lstStyle>
            <a:defPPr>
              <a:defRPr lang="en-US"/>
            </a:defPPr>
            <a:lvl1pPr algn="ctr">
              <a:defRPr sz="1600">
                <a:latin typeface="Rockwell"/>
                <a:cs typeface="Rockwell"/>
              </a:defRPr>
            </a:lvl1pPr>
          </a:lstStyle>
          <a:p>
            <a:pPr defTabSz="685800" fontAlgn="auto">
              <a:spcBef>
                <a:spcPts val="0"/>
              </a:spcBef>
              <a:spcAft>
                <a:spcPts val="0"/>
              </a:spcAft>
            </a:pPr>
            <a:r>
              <a:rPr lang="en-GB" sz="1200" kern="0" dirty="0">
                <a:solidFill>
                  <a:sysClr val="windowText" lastClr="000000"/>
                </a:solidFill>
                <a:latin typeface="+mj-lt"/>
              </a:rPr>
              <a:t>Post campaign</a:t>
            </a:r>
          </a:p>
        </p:txBody>
      </p:sp>
      <p:sp>
        <p:nvSpPr>
          <p:cNvPr id="15" name="TextBox 14">
            <a:extLst>
              <a:ext uri="{FF2B5EF4-FFF2-40B4-BE49-F238E27FC236}">
                <a16:creationId xmlns:a16="http://schemas.microsoft.com/office/drawing/2014/main" id="{2DF9A75D-3402-45BE-88E0-EC8F73A5246D}"/>
              </a:ext>
            </a:extLst>
          </p:cNvPr>
          <p:cNvSpPr txBox="1"/>
          <p:nvPr/>
        </p:nvSpPr>
        <p:spPr>
          <a:xfrm>
            <a:off x="3258856" y="1615504"/>
            <a:ext cx="2319866" cy="276999"/>
          </a:xfrm>
          <a:prstGeom prst="rect">
            <a:avLst/>
          </a:prstGeom>
          <a:noFill/>
          <a:effectLst/>
        </p:spPr>
        <p:txBody>
          <a:bodyPr wrap="square" rtlCol="0">
            <a:spAutoFit/>
          </a:bodyPr>
          <a:lstStyle>
            <a:defPPr>
              <a:defRPr lang="en-US"/>
            </a:defPPr>
            <a:lvl1pPr algn="ctr">
              <a:defRPr sz="1600">
                <a:latin typeface="Rockwell"/>
                <a:cs typeface="Rockwell"/>
              </a:defRPr>
            </a:lvl1pPr>
          </a:lstStyle>
          <a:p>
            <a:pPr defTabSz="685800" fontAlgn="auto">
              <a:spcBef>
                <a:spcPts val="0"/>
              </a:spcBef>
              <a:spcAft>
                <a:spcPts val="0"/>
              </a:spcAft>
            </a:pPr>
            <a:r>
              <a:rPr lang="en-GB" sz="1200" kern="0" dirty="0">
                <a:solidFill>
                  <a:sysClr val="windowText" lastClr="000000"/>
                </a:solidFill>
                <a:latin typeface="+mj-lt"/>
              </a:rPr>
              <a:t>Mid-campaign</a:t>
            </a:r>
          </a:p>
        </p:txBody>
      </p:sp>
      <p:graphicFrame>
        <p:nvGraphicFramePr>
          <p:cNvPr id="16" name="Content Placeholder 6">
            <a:extLst>
              <a:ext uri="{FF2B5EF4-FFF2-40B4-BE49-F238E27FC236}">
                <a16:creationId xmlns:a16="http://schemas.microsoft.com/office/drawing/2014/main" id="{CDBE1B56-8DD5-43D4-862A-84FF75444106}"/>
              </a:ext>
            </a:extLst>
          </p:cNvPr>
          <p:cNvGraphicFramePr>
            <a:graphicFrameLocks/>
          </p:cNvGraphicFramePr>
          <p:nvPr>
            <p:extLst>
              <p:ext uri="{D42A27DB-BD31-4B8C-83A1-F6EECF244321}">
                <p14:modId xmlns:p14="http://schemas.microsoft.com/office/powerpoint/2010/main" val="3335231469"/>
              </p:ext>
            </p:extLst>
          </p:nvPr>
        </p:nvGraphicFramePr>
        <p:xfrm>
          <a:off x="5236358" y="2014794"/>
          <a:ext cx="1870207" cy="392880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ontent Placeholder 6">
            <a:extLst>
              <a:ext uri="{FF2B5EF4-FFF2-40B4-BE49-F238E27FC236}">
                <a16:creationId xmlns:a16="http://schemas.microsoft.com/office/drawing/2014/main" id="{9D13070E-E876-49E7-8B2B-4B471BFF681D}"/>
              </a:ext>
            </a:extLst>
          </p:cNvPr>
          <p:cNvGraphicFramePr>
            <a:graphicFrameLocks/>
          </p:cNvGraphicFramePr>
          <p:nvPr>
            <p:extLst>
              <p:ext uri="{D42A27DB-BD31-4B8C-83A1-F6EECF244321}">
                <p14:modId xmlns:p14="http://schemas.microsoft.com/office/powerpoint/2010/main" val="1953846215"/>
              </p:ext>
            </p:extLst>
          </p:nvPr>
        </p:nvGraphicFramePr>
        <p:xfrm>
          <a:off x="3493414" y="2014794"/>
          <a:ext cx="1870207" cy="392880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2622667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BD2FBCF-262C-45F2-8627-8AF8BFBCE520}"/>
              </a:ext>
            </a:extLst>
          </p:cNvPr>
          <p:cNvSpPr>
            <a:spLocks noGrp="1"/>
          </p:cNvSpPr>
          <p:nvPr>
            <p:ph type="sldNum" sz="quarter" idx="4"/>
          </p:nvPr>
        </p:nvSpPr>
        <p:spPr/>
        <p:txBody>
          <a:bodyPr/>
          <a:lstStyle/>
          <a:p>
            <a:fld id="{CCC91EE0-52FC-AE4F-BCCE-CF8E45753813}" type="slidenum">
              <a:rPr lang="en-GB" smtClean="0"/>
              <a:pPr/>
              <a:t>14</a:t>
            </a:fld>
            <a:endParaRPr lang="en-GB" dirty="0"/>
          </a:p>
        </p:txBody>
      </p:sp>
      <p:sp>
        <p:nvSpPr>
          <p:cNvPr id="3" name="Footer Placeholder 2">
            <a:extLst>
              <a:ext uri="{FF2B5EF4-FFF2-40B4-BE49-F238E27FC236}">
                <a16:creationId xmlns:a16="http://schemas.microsoft.com/office/drawing/2014/main" id="{3A8B5DD9-C917-4BC2-B39E-6C22F00D9454}"/>
              </a:ext>
            </a:extLst>
          </p:cNvPr>
          <p:cNvSpPr>
            <a:spLocks noGrp="1"/>
          </p:cNvSpPr>
          <p:nvPr>
            <p:ph type="ftr" sz="quarter" idx="14"/>
          </p:nvPr>
        </p:nvSpPr>
        <p:spPr/>
        <p:txBody>
          <a:bodyPr/>
          <a:lstStyle/>
          <a:p>
            <a:endParaRPr lang="en-GB"/>
          </a:p>
        </p:txBody>
      </p:sp>
      <p:sp>
        <p:nvSpPr>
          <p:cNvPr id="4" name="Title 3">
            <a:extLst>
              <a:ext uri="{FF2B5EF4-FFF2-40B4-BE49-F238E27FC236}">
                <a16:creationId xmlns:a16="http://schemas.microsoft.com/office/drawing/2014/main" id="{4920E678-C0E6-4EDA-B688-DD9C2EF14FA2}"/>
              </a:ext>
            </a:extLst>
          </p:cNvPr>
          <p:cNvSpPr>
            <a:spLocks noGrp="1"/>
          </p:cNvSpPr>
          <p:nvPr>
            <p:ph type="title"/>
          </p:nvPr>
        </p:nvSpPr>
        <p:spPr>
          <a:xfrm>
            <a:off x="334841" y="300381"/>
            <a:ext cx="11522319" cy="707886"/>
          </a:xfrm>
        </p:spPr>
        <p:txBody>
          <a:bodyPr/>
          <a:lstStyle/>
          <a:p>
            <a:r>
              <a:rPr lang="en-GB" dirty="0"/>
              <a:t>How dynamic funnels work</a:t>
            </a:r>
          </a:p>
        </p:txBody>
      </p:sp>
      <p:pic>
        <p:nvPicPr>
          <p:cNvPr id="5" name="Picture 4" descr="A close up of a map&#10;&#10;Description automatically generated">
            <a:extLst>
              <a:ext uri="{FF2B5EF4-FFF2-40B4-BE49-F238E27FC236}">
                <a16:creationId xmlns:a16="http://schemas.microsoft.com/office/drawing/2014/main" id="{A5380D8A-764C-40E3-92E7-13435604FF62}"/>
              </a:ext>
            </a:extLst>
          </p:cNvPr>
          <p:cNvPicPr>
            <a:picLocks noChangeAspect="1"/>
          </p:cNvPicPr>
          <p:nvPr/>
        </p:nvPicPr>
        <p:blipFill>
          <a:blip r:embed="rId2"/>
          <a:stretch>
            <a:fillRect/>
          </a:stretch>
        </p:blipFill>
        <p:spPr>
          <a:xfrm>
            <a:off x="880681" y="3813289"/>
            <a:ext cx="3480108" cy="2674989"/>
          </a:xfrm>
          <a:prstGeom prst="rect">
            <a:avLst/>
          </a:prstGeom>
        </p:spPr>
      </p:pic>
      <p:pic>
        <p:nvPicPr>
          <p:cNvPr id="6" name="Picture 5" descr="A close up of a map&#10;&#10;Description automatically generated">
            <a:extLst>
              <a:ext uri="{FF2B5EF4-FFF2-40B4-BE49-F238E27FC236}">
                <a16:creationId xmlns:a16="http://schemas.microsoft.com/office/drawing/2014/main" id="{7C322579-891E-46A7-8CA5-1ED608801D6C}"/>
              </a:ext>
            </a:extLst>
          </p:cNvPr>
          <p:cNvPicPr>
            <a:picLocks noChangeAspect="1"/>
          </p:cNvPicPr>
          <p:nvPr/>
        </p:nvPicPr>
        <p:blipFill>
          <a:blip r:embed="rId3"/>
          <a:stretch>
            <a:fillRect/>
          </a:stretch>
        </p:blipFill>
        <p:spPr>
          <a:xfrm>
            <a:off x="4867482" y="1008267"/>
            <a:ext cx="3480108" cy="2674989"/>
          </a:xfrm>
          <a:prstGeom prst="rect">
            <a:avLst/>
          </a:prstGeom>
        </p:spPr>
      </p:pic>
      <p:pic>
        <p:nvPicPr>
          <p:cNvPr id="8" name="Picture 7" descr="A close up of a map&#10;&#10;Description automatically generated">
            <a:extLst>
              <a:ext uri="{FF2B5EF4-FFF2-40B4-BE49-F238E27FC236}">
                <a16:creationId xmlns:a16="http://schemas.microsoft.com/office/drawing/2014/main" id="{0B4710CA-21DF-4B59-B3A3-71B1F1B0C134}"/>
              </a:ext>
            </a:extLst>
          </p:cNvPr>
          <p:cNvPicPr>
            <a:picLocks noChangeAspect="1"/>
          </p:cNvPicPr>
          <p:nvPr/>
        </p:nvPicPr>
        <p:blipFill>
          <a:blip r:embed="rId4"/>
          <a:stretch>
            <a:fillRect/>
          </a:stretch>
        </p:blipFill>
        <p:spPr>
          <a:xfrm>
            <a:off x="880681" y="1089494"/>
            <a:ext cx="3480108" cy="2674989"/>
          </a:xfrm>
          <a:prstGeom prst="rect">
            <a:avLst/>
          </a:prstGeom>
        </p:spPr>
      </p:pic>
      <p:sp>
        <p:nvSpPr>
          <p:cNvPr id="18" name="Oval 17">
            <a:extLst>
              <a:ext uri="{FF2B5EF4-FFF2-40B4-BE49-F238E27FC236}">
                <a16:creationId xmlns:a16="http://schemas.microsoft.com/office/drawing/2014/main" id="{54B0B19A-869E-4F39-9870-3088356BD996}"/>
              </a:ext>
            </a:extLst>
          </p:cNvPr>
          <p:cNvSpPr/>
          <p:nvPr/>
        </p:nvSpPr>
        <p:spPr>
          <a:xfrm>
            <a:off x="726705" y="3705367"/>
            <a:ext cx="356159" cy="35581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r>
              <a:rPr lang="en-GB" sz="1350" kern="0" dirty="0">
                <a:solidFill>
                  <a:sysClr val="windowText" lastClr="000000"/>
                </a:solidFill>
              </a:rPr>
              <a:t>3</a:t>
            </a:r>
          </a:p>
        </p:txBody>
      </p:sp>
      <p:sp>
        <p:nvSpPr>
          <p:cNvPr id="19" name="Oval 18">
            <a:extLst>
              <a:ext uri="{FF2B5EF4-FFF2-40B4-BE49-F238E27FC236}">
                <a16:creationId xmlns:a16="http://schemas.microsoft.com/office/drawing/2014/main" id="{93A27847-9B5F-4E98-B6A6-94F1D945BB52}"/>
              </a:ext>
            </a:extLst>
          </p:cNvPr>
          <p:cNvSpPr/>
          <p:nvPr/>
        </p:nvSpPr>
        <p:spPr>
          <a:xfrm>
            <a:off x="774979" y="1001063"/>
            <a:ext cx="356159" cy="35581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r>
              <a:rPr lang="en-GB" sz="1350" kern="0" dirty="0">
                <a:solidFill>
                  <a:sysClr val="windowText" lastClr="000000"/>
                </a:solidFill>
              </a:rPr>
              <a:t>1</a:t>
            </a:r>
          </a:p>
        </p:txBody>
      </p:sp>
      <p:sp>
        <p:nvSpPr>
          <p:cNvPr id="20" name="Oval 19">
            <a:extLst>
              <a:ext uri="{FF2B5EF4-FFF2-40B4-BE49-F238E27FC236}">
                <a16:creationId xmlns:a16="http://schemas.microsoft.com/office/drawing/2014/main" id="{581C7947-A0AE-493F-9708-140C7A5C40DA}"/>
              </a:ext>
            </a:extLst>
          </p:cNvPr>
          <p:cNvSpPr/>
          <p:nvPr/>
        </p:nvSpPr>
        <p:spPr>
          <a:xfrm>
            <a:off x="5384053" y="1025442"/>
            <a:ext cx="356159" cy="35581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r>
              <a:rPr lang="en-GB" sz="1350" kern="0" dirty="0">
                <a:solidFill>
                  <a:sysClr val="windowText" lastClr="000000"/>
                </a:solidFill>
              </a:rPr>
              <a:t>2</a:t>
            </a:r>
          </a:p>
        </p:txBody>
      </p:sp>
      <p:sp>
        <p:nvSpPr>
          <p:cNvPr id="25" name="Rectangle 24">
            <a:extLst>
              <a:ext uri="{FF2B5EF4-FFF2-40B4-BE49-F238E27FC236}">
                <a16:creationId xmlns:a16="http://schemas.microsoft.com/office/drawing/2014/main" id="{43C06602-997F-4459-BD44-C6C3A5FE15DB}"/>
              </a:ext>
            </a:extLst>
          </p:cNvPr>
          <p:cNvSpPr/>
          <p:nvPr/>
        </p:nvSpPr>
        <p:spPr>
          <a:xfrm>
            <a:off x="8567458" y="1473200"/>
            <a:ext cx="3289666" cy="4559300"/>
          </a:xfrm>
          <a:prstGeom prst="rect">
            <a:avLst/>
          </a:prstGeom>
          <a:gradFill>
            <a:gsLst>
              <a:gs pos="0">
                <a:schemeClr val="bg2"/>
              </a:gs>
              <a:gs pos="100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lgn="ctr" defTabSz="685800" fontAlgn="auto">
              <a:spcBef>
                <a:spcPts val="0"/>
              </a:spcBef>
              <a:spcAft>
                <a:spcPts val="0"/>
              </a:spcAft>
              <a:buFont typeface="Arial" panose="020B0604020202020204" pitchFamily="34" charset="0"/>
              <a:buChar char="•"/>
            </a:pPr>
            <a:r>
              <a:rPr lang="en-GB" sz="1600" kern="0" dirty="0">
                <a:solidFill>
                  <a:schemeClr val="bg1"/>
                </a:solidFill>
              </a:rPr>
              <a:t>Instead of simply looking at the relationship between different layers of the funnel at a given point in time, we are looking to prove a causal relationship between them over time</a:t>
            </a:r>
          </a:p>
          <a:p>
            <a:pPr marL="214313" indent="-214313" algn="ctr" defTabSz="685800" fontAlgn="auto">
              <a:spcBef>
                <a:spcPts val="0"/>
              </a:spcBef>
              <a:spcAft>
                <a:spcPts val="0"/>
              </a:spcAft>
              <a:buFont typeface="Arial" panose="020B0604020202020204" pitchFamily="34" charset="0"/>
              <a:buChar char="•"/>
            </a:pPr>
            <a:r>
              <a:rPr lang="en-GB" sz="1600" kern="0" dirty="0">
                <a:solidFill>
                  <a:schemeClr val="bg1"/>
                </a:solidFill>
              </a:rPr>
              <a:t>We create simple regression models and can then use the results of the models to create a scenario planner or design scenarios for you</a:t>
            </a:r>
          </a:p>
          <a:p>
            <a:pPr marL="214313" indent="-214313" algn="ctr" defTabSz="685800" fontAlgn="auto">
              <a:spcBef>
                <a:spcPts val="0"/>
              </a:spcBef>
              <a:spcAft>
                <a:spcPts val="0"/>
              </a:spcAft>
              <a:buFont typeface="Arial" panose="020B0604020202020204" pitchFamily="34" charset="0"/>
              <a:buChar char="•"/>
            </a:pPr>
            <a:r>
              <a:rPr lang="en-GB" sz="1600" kern="0" dirty="0">
                <a:solidFill>
                  <a:schemeClr val="bg1"/>
                </a:solidFill>
              </a:rPr>
              <a:t>If two layers don’t influence one another we will exclude the meaningless one(s) from the analysis</a:t>
            </a:r>
          </a:p>
        </p:txBody>
      </p:sp>
      <p:grpSp>
        <p:nvGrpSpPr>
          <p:cNvPr id="27" name="Group 26">
            <a:extLst>
              <a:ext uri="{FF2B5EF4-FFF2-40B4-BE49-F238E27FC236}">
                <a16:creationId xmlns:a16="http://schemas.microsoft.com/office/drawing/2014/main" id="{F6DEB044-F929-4ECC-8FF1-815F34A10F7B}"/>
              </a:ext>
            </a:extLst>
          </p:cNvPr>
          <p:cNvGrpSpPr/>
          <p:nvPr/>
        </p:nvGrpSpPr>
        <p:grpSpPr>
          <a:xfrm>
            <a:off x="4867482" y="3813289"/>
            <a:ext cx="3480082" cy="2674989"/>
            <a:chOff x="4867482" y="3813289"/>
            <a:chExt cx="3480082" cy="2674989"/>
          </a:xfrm>
        </p:grpSpPr>
        <p:grpSp>
          <p:nvGrpSpPr>
            <p:cNvPr id="10" name="Group 9">
              <a:extLst>
                <a:ext uri="{FF2B5EF4-FFF2-40B4-BE49-F238E27FC236}">
                  <a16:creationId xmlns:a16="http://schemas.microsoft.com/office/drawing/2014/main" id="{122EF432-7FC2-46C1-B723-71B443672C9F}"/>
                </a:ext>
              </a:extLst>
            </p:cNvPr>
            <p:cNvGrpSpPr/>
            <p:nvPr/>
          </p:nvGrpSpPr>
          <p:grpSpPr>
            <a:xfrm>
              <a:off x="4867482" y="3813289"/>
              <a:ext cx="3480082" cy="2674989"/>
              <a:chOff x="5864452" y="3845710"/>
              <a:chExt cx="3480082" cy="2674989"/>
            </a:xfrm>
          </p:grpSpPr>
          <p:pic>
            <p:nvPicPr>
              <p:cNvPr id="7" name="Picture 6">
                <a:extLst>
                  <a:ext uri="{FF2B5EF4-FFF2-40B4-BE49-F238E27FC236}">
                    <a16:creationId xmlns:a16="http://schemas.microsoft.com/office/drawing/2014/main" id="{76D57D9A-566A-4DCA-9CAB-2DC053D85DA3}"/>
                  </a:ext>
                </a:extLst>
              </p:cNvPr>
              <p:cNvPicPr>
                <a:picLocks noChangeAspect="1"/>
              </p:cNvPicPr>
              <p:nvPr/>
            </p:nvPicPr>
            <p:blipFill>
              <a:blip r:embed="rId5"/>
              <a:srcRect/>
              <a:stretch/>
            </p:blipFill>
            <p:spPr>
              <a:xfrm>
                <a:off x="5864452" y="3845710"/>
                <a:ext cx="3480082" cy="2674989"/>
              </a:xfrm>
              <a:prstGeom prst="rect">
                <a:avLst/>
              </a:prstGeom>
            </p:spPr>
          </p:pic>
          <p:sp>
            <p:nvSpPr>
              <p:cNvPr id="9" name="TextBox 8">
                <a:extLst>
                  <a:ext uri="{FF2B5EF4-FFF2-40B4-BE49-F238E27FC236}">
                    <a16:creationId xmlns:a16="http://schemas.microsoft.com/office/drawing/2014/main" id="{F5E1CD4B-3F91-4D00-A6CB-E878CBA7E66E}"/>
                  </a:ext>
                </a:extLst>
              </p:cNvPr>
              <p:cNvSpPr txBox="1"/>
              <p:nvPr/>
            </p:nvSpPr>
            <p:spPr>
              <a:xfrm>
                <a:off x="6908800" y="3881247"/>
                <a:ext cx="1492250" cy="200055"/>
              </a:xfrm>
              <a:prstGeom prst="rect">
                <a:avLst/>
              </a:prstGeom>
              <a:solidFill>
                <a:schemeClr val="bg1"/>
              </a:solidFill>
            </p:spPr>
            <p:txBody>
              <a:bodyPr wrap="square" rtlCol="0">
                <a:spAutoFit/>
              </a:bodyPr>
              <a:lstStyle/>
              <a:p>
                <a:pPr algn="l"/>
                <a:r>
                  <a:rPr lang="en-GB" sz="700" dirty="0">
                    <a:solidFill>
                      <a:srgbClr val="535353"/>
                    </a:solidFill>
                    <a:latin typeface="+mn-lt"/>
                    <a:ea typeface="Oswald Light" charset="0"/>
                    <a:cs typeface="Oswald Light" charset="0"/>
                  </a:rPr>
                  <a:t>Reviews vs. Consideration</a:t>
                </a:r>
              </a:p>
            </p:txBody>
          </p:sp>
        </p:grpSp>
        <p:sp>
          <p:nvSpPr>
            <p:cNvPr id="26" name="TextBox 25">
              <a:extLst>
                <a:ext uri="{FF2B5EF4-FFF2-40B4-BE49-F238E27FC236}">
                  <a16:creationId xmlns:a16="http://schemas.microsoft.com/office/drawing/2014/main" id="{1B193003-62B6-4004-8F35-B297A4F522B4}"/>
                </a:ext>
              </a:extLst>
            </p:cNvPr>
            <p:cNvSpPr txBox="1"/>
            <p:nvPr/>
          </p:nvSpPr>
          <p:spPr>
            <a:xfrm rot="16200000">
              <a:off x="4325777" y="5003580"/>
              <a:ext cx="1492250" cy="200055"/>
            </a:xfrm>
            <a:prstGeom prst="rect">
              <a:avLst/>
            </a:prstGeom>
            <a:solidFill>
              <a:schemeClr val="bg1"/>
            </a:solidFill>
          </p:spPr>
          <p:txBody>
            <a:bodyPr wrap="square" rtlCol="0">
              <a:spAutoFit/>
            </a:bodyPr>
            <a:lstStyle/>
            <a:p>
              <a:pPr algn="ctr"/>
              <a:r>
                <a:rPr lang="en-GB" sz="700" dirty="0">
                  <a:solidFill>
                    <a:srgbClr val="535353"/>
                  </a:solidFill>
                  <a:latin typeface="+mn-lt"/>
                  <a:ea typeface="Oswald Light" charset="0"/>
                  <a:cs typeface="Oswald Light" charset="0"/>
                </a:rPr>
                <a:t>Reviews</a:t>
              </a:r>
            </a:p>
          </p:txBody>
        </p:sp>
      </p:grpSp>
      <p:sp>
        <p:nvSpPr>
          <p:cNvPr id="21" name="Oval 20">
            <a:extLst>
              <a:ext uri="{FF2B5EF4-FFF2-40B4-BE49-F238E27FC236}">
                <a16:creationId xmlns:a16="http://schemas.microsoft.com/office/drawing/2014/main" id="{E44549AE-5225-40E9-B3B8-BB431D3FE96F}"/>
              </a:ext>
            </a:extLst>
          </p:cNvPr>
          <p:cNvSpPr/>
          <p:nvPr/>
        </p:nvSpPr>
        <p:spPr>
          <a:xfrm>
            <a:off x="5335777" y="3705367"/>
            <a:ext cx="356159" cy="35581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r>
              <a:rPr lang="en-GB" sz="1350" kern="0" dirty="0">
                <a:solidFill>
                  <a:sysClr val="windowText" lastClr="000000"/>
                </a:solidFill>
              </a:rPr>
              <a:t>4</a:t>
            </a:r>
          </a:p>
        </p:txBody>
      </p:sp>
    </p:spTree>
    <p:extLst>
      <p:ext uri="{BB962C8B-B14F-4D97-AF65-F5344CB8AC3E}">
        <p14:creationId xmlns:p14="http://schemas.microsoft.com/office/powerpoint/2010/main" val="22255797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B9E9847A-1991-784A-BFC3-D72D1CF15E55}"/>
              </a:ext>
            </a:extLst>
          </p:cNvPr>
          <p:cNvSpPr>
            <a:spLocks noGrp="1"/>
          </p:cNvSpPr>
          <p:nvPr>
            <p:ph type="pic" sz="quarter" idx="10"/>
          </p:nvPr>
        </p:nvSpPr>
        <p:spPr>
          <a:xfrm>
            <a:off x="0" y="0"/>
            <a:ext cx="12207874" cy="6453188"/>
          </a:xfrm>
        </p:spPr>
      </p:sp>
      <p:sp>
        <p:nvSpPr>
          <p:cNvPr id="3" name="Slide Number Placeholder 2">
            <a:extLst>
              <a:ext uri="{FF2B5EF4-FFF2-40B4-BE49-F238E27FC236}">
                <a16:creationId xmlns:a16="http://schemas.microsoft.com/office/drawing/2014/main" id="{24983955-4DCE-EA41-9E22-B9A724008FED}"/>
              </a:ext>
            </a:extLst>
          </p:cNvPr>
          <p:cNvSpPr>
            <a:spLocks noGrp="1"/>
          </p:cNvSpPr>
          <p:nvPr>
            <p:ph type="sldNum" sz="quarter" idx="4"/>
          </p:nvPr>
        </p:nvSpPr>
        <p:spPr/>
        <p:txBody>
          <a:bodyPr/>
          <a:lstStyle/>
          <a:p>
            <a:fld id="{CCC91EE0-52FC-AE4F-BCCE-CF8E45753813}" type="slidenum">
              <a:rPr lang="en-GB" smtClean="0"/>
              <a:pPr/>
              <a:t>15</a:t>
            </a:fld>
            <a:endParaRPr lang="en-GB" dirty="0"/>
          </a:p>
        </p:txBody>
      </p:sp>
      <p:sp>
        <p:nvSpPr>
          <p:cNvPr id="4" name="Footer Placeholder 3">
            <a:extLst>
              <a:ext uri="{FF2B5EF4-FFF2-40B4-BE49-F238E27FC236}">
                <a16:creationId xmlns:a16="http://schemas.microsoft.com/office/drawing/2014/main" id="{CE09C078-5A8E-0E4F-ACF8-BC1739A146DE}"/>
              </a:ext>
            </a:extLst>
          </p:cNvPr>
          <p:cNvSpPr>
            <a:spLocks noGrp="1"/>
          </p:cNvSpPr>
          <p:nvPr>
            <p:ph type="ftr" sz="quarter" idx="14"/>
          </p:nvPr>
        </p:nvSpPr>
        <p:spPr/>
        <p:txBody>
          <a:bodyPr/>
          <a:lstStyle/>
          <a:p>
            <a:endParaRPr lang="en-GB"/>
          </a:p>
        </p:txBody>
      </p:sp>
      <p:sp>
        <p:nvSpPr>
          <p:cNvPr id="7" name="Text Placeholder 6">
            <a:extLst>
              <a:ext uri="{FF2B5EF4-FFF2-40B4-BE49-F238E27FC236}">
                <a16:creationId xmlns:a16="http://schemas.microsoft.com/office/drawing/2014/main" id="{A1E3002D-600A-B445-A396-949C77FAB6C6}"/>
              </a:ext>
            </a:extLst>
          </p:cNvPr>
          <p:cNvSpPr>
            <a:spLocks noGrp="1"/>
          </p:cNvSpPr>
          <p:nvPr>
            <p:ph type="body" sz="quarter" idx="15"/>
          </p:nvPr>
        </p:nvSpPr>
        <p:spPr/>
        <p:txBody>
          <a:bodyPr/>
          <a:lstStyle/>
          <a:p>
            <a:r>
              <a:rPr lang="en-US" dirty="0"/>
              <a:t>Timelines and cost</a:t>
            </a:r>
          </a:p>
        </p:txBody>
      </p:sp>
      <p:sp>
        <p:nvSpPr>
          <p:cNvPr id="6" name="Text Placeholder 5">
            <a:extLst>
              <a:ext uri="{FF2B5EF4-FFF2-40B4-BE49-F238E27FC236}">
                <a16:creationId xmlns:a16="http://schemas.microsoft.com/office/drawing/2014/main" id="{927E30DB-9644-9F4F-ACB7-6F2180A3D2F7}"/>
              </a:ext>
            </a:extLst>
          </p:cNvPr>
          <p:cNvSpPr>
            <a:spLocks noGrp="1"/>
          </p:cNvSpPr>
          <p:nvPr>
            <p:ph type="body" sz="quarter" idx="13"/>
          </p:nvPr>
        </p:nvSpPr>
        <p:spPr/>
        <p:txBody>
          <a:bodyPr/>
          <a:lstStyle/>
          <a:p>
            <a:r>
              <a:rPr lang="en-US" dirty="0"/>
              <a:t>04</a:t>
            </a:r>
          </a:p>
        </p:txBody>
      </p:sp>
      <p:sp>
        <p:nvSpPr>
          <p:cNvPr id="11" name="Text Placeholder 10">
            <a:extLst>
              <a:ext uri="{FF2B5EF4-FFF2-40B4-BE49-F238E27FC236}">
                <a16:creationId xmlns:a16="http://schemas.microsoft.com/office/drawing/2014/main" id="{53814511-72C4-714C-9AE0-46E22A6340C6}"/>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3179761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FC33476-01EC-4862-BC74-BF6622D52215}"/>
              </a:ext>
            </a:extLst>
          </p:cNvPr>
          <p:cNvSpPr>
            <a:spLocks noGrp="1"/>
          </p:cNvSpPr>
          <p:nvPr>
            <p:ph type="sldNum" sz="quarter" idx="4"/>
          </p:nvPr>
        </p:nvSpPr>
        <p:spPr/>
        <p:txBody>
          <a:bodyPr/>
          <a:lstStyle/>
          <a:p>
            <a:fld id="{CCC91EE0-52FC-AE4F-BCCE-CF8E45753813}" type="slidenum">
              <a:rPr lang="en-GB" smtClean="0"/>
              <a:pPr/>
              <a:t>16</a:t>
            </a:fld>
            <a:endParaRPr lang="en-GB" dirty="0"/>
          </a:p>
        </p:txBody>
      </p:sp>
      <p:sp>
        <p:nvSpPr>
          <p:cNvPr id="3" name="Footer Placeholder 2">
            <a:extLst>
              <a:ext uri="{FF2B5EF4-FFF2-40B4-BE49-F238E27FC236}">
                <a16:creationId xmlns:a16="http://schemas.microsoft.com/office/drawing/2014/main" id="{0A27851B-3844-4A64-885B-D2245B2203AF}"/>
              </a:ext>
            </a:extLst>
          </p:cNvPr>
          <p:cNvSpPr>
            <a:spLocks noGrp="1"/>
          </p:cNvSpPr>
          <p:nvPr>
            <p:ph type="ftr" sz="quarter" idx="14"/>
          </p:nvPr>
        </p:nvSpPr>
        <p:spPr>
          <a:xfrm>
            <a:off x="334840" y="6395422"/>
            <a:ext cx="4271343" cy="368996"/>
          </a:xfrm>
        </p:spPr>
        <p:txBody>
          <a:bodyPr/>
          <a:lstStyle/>
          <a:p>
            <a:r>
              <a:rPr lang="en-GB" sz="800" dirty="0">
                <a:solidFill>
                  <a:schemeClr val="tx1"/>
                </a:solidFill>
                <a:ea typeface="Oswald Light" charset="0"/>
                <a:cs typeface="Oswald Light" charset="0"/>
              </a:rPr>
              <a:t>Note: Funnel costs are against 1 audience (either B2B or B2C)</a:t>
            </a:r>
          </a:p>
          <a:p>
            <a:r>
              <a:rPr lang="en-GB" sz="800" dirty="0">
                <a:solidFill>
                  <a:schemeClr val="tx1"/>
                </a:solidFill>
                <a:ea typeface="Oswald Light" charset="0"/>
                <a:cs typeface="Oswald Light" charset="0"/>
              </a:rPr>
              <a:t>CIA cost is for a single KPI, we can provide the cost for multiple KPIs</a:t>
            </a:r>
            <a:endParaRPr lang="en-GB" dirty="0"/>
          </a:p>
        </p:txBody>
      </p:sp>
      <p:sp>
        <p:nvSpPr>
          <p:cNvPr id="4" name="Title 3">
            <a:extLst>
              <a:ext uri="{FF2B5EF4-FFF2-40B4-BE49-F238E27FC236}">
                <a16:creationId xmlns:a16="http://schemas.microsoft.com/office/drawing/2014/main" id="{74C90280-C948-4F1F-BADD-0CBE1551830F}"/>
              </a:ext>
            </a:extLst>
          </p:cNvPr>
          <p:cNvSpPr>
            <a:spLocks noGrp="1"/>
          </p:cNvSpPr>
          <p:nvPr>
            <p:ph type="title"/>
          </p:nvPr>
        </p:nvSpPr>
        <p:spPr>
          <a:xfrm>
            <a:off x="334841" y="300381"/>
            <a:ext cx="11522319" cy="707886"/>
          </a:xfrm>
        </p:spPr>
        <p:txBody>
          <a:bodyPr/>
          <a:lstStyle/>
          <a:p>
            <a:r>
              <a:rPr lang="en-GB" dirty="0"/>
              <a:t>Cost</a:t>
            </a:r>
          </a:p>
        </p:txBody>
      </p:sp>
      <p:graphicFrame>
        <p:nvGraphicFramePr>
          <p:cNvPr id="5" name="Table 5">
            <a:extLst>
              <a:ext uri="{FF2B5EF4-FFF2-40B4-BE49-F238E27FC236}">
                <a16:creationId xmlns:a16="http://schemas.microsoft.com/office/drawing/2014/main" id="{BCEEEE0B-5BFA-4BE2-BF60-E7D48BF81BD7}"/>
              </a:ext>
            </a:extLst>
          </p:cNvPr>
          <p:cNvGraphicFramePr>
            <a:graphicFrameLocks noGrp="1"/>
          </p:cNvGraphicFramePr>
          <p:nvPr>
            <p:extLst>
              <p:ext uri="{D42A27DB-BD31-4B8C-83A1-F6EECF244321}">
                <p14:modId xmlns:p14="http://schemas.microsoft.com/office/powerpoint/2010/main" val="3568215929"/>
              </p:ext>
            </p:extLst>
          </p:nvPr>
        </p:nvGraphicFramePr>
        <p:xfrm>
          <a:off x="1219200" y="1754716"/>
          <a:ext cx="8356599" cy="2529840"/>
        </p:xfrm>
        <a:graphic>
          <a:graphicData uri="http://schemas.openxmlformats.org/drawingml/2006/table">
            <a:tbl>
              <a:tblPr firstRow="1" bandRow="1">
                <a:tableStyleId>{F5AB1C69-6EDB-4FF4-983F-18BD219EF322}</a:tableStyleId>
              </a:tblPr>
              <a:tblGrid>
                <a:gridCol w="4153095">
                  <a:extLst>
                    <a:ext uri="{9D8B030D-6E8A-4147-A177-3AD203B41FA5}">
                      <a16:colId xmlns:a16="http://schemas.microsoft.com/office/drawing/2014/main" val="365994002"/>
                    </a:ext>
                  </a:extLst>
                </a:gridCol>
                <a:gridCol w="2101752">
                  <a:extLst>
                    <a:ext uri="{9D8B030D-6E8A-4147-A177-3AD203B41FA5}">
                      <a16:colId xmlns:a16="http://schemas.microsoft.com/office/drawing/2014/main" val="3280363795"/>
                    </a:ext>
                  </a:extLst>
                </a:gridCol>
                <a:gridCol w="2101752">
                  <a:extLst>
                    <a:ext uri="{9D8B030D-6E8A-4147-A177-3AD203B41FA5}">
                      <a16:colId xmlns:a16="http://schemas.microsoft.com/office/drawing/2014/main" val="1308001668"/>
                    </a:ext>
                  </a:extLst>
                </a:gridCol>
              </a:tblGrid>
              <a:tr h="370840">
                <a:tc>
                  <a:txBody>
                    <a:bodyPr/>
                    <a:lstStyle/>
                    <a:p>
                      <a:endParaRPr lang="en-GB" sz="2000" dirty="0"/>
                    </a:p>
                  </a:txBody>
                  <a:tcPr/>
                </a:tc>
                <a:tc>
                  <a:txBody>
                    <a:bodyPr/>
                    <a:lstStyle/>
                    <a:p>
                      <a:pPr algn="ctr"/>
                      <a:r>
                        <a:rPr lang="en-GB" sz="2000" dirty="0"/>
                        <a:t>UK</a:t>
                      </a:r>
                    </a:p>
                  </a:txBody>
                  <a:tcPr/>
                </a:tc>
                <a:tc>
                  <a:txBody>
                    <a:bodyPr/>
                    <a:lstStyle/>
                    <a:p>
                      <a:pPr algn="ctr"/>
                      <a:r>
                        <a:rPr lang="en-GB" sz="2000" dirty="0"/>
                        <a:t>Italy</a:t>
                      </a:r>
                    </a:p>
                  </a:txBody>
                  <a:tcPr/>
                </a:tc>
                <a:extLst>
                  <a:ext uri="{0D108BD9-81ED-4DB2-BD59-A6C34878D82A}">
                    <a16:rowId xmlns:a16="http://schemas.microsoft.com/office/drawing/2014/main" val="410950237"/>
                  </a:ext>
                </a:extLst>
              </a:tr>
              <a:tr h="370840">
                <a:tc>
                  <a:txBody>
                    <a:bodyPr/>
                    <a:lstStyle/>
                    <a:p>
                      <a:r>
                        <a:rPr lang="en-GB" sz="2000" dirty="0"/>
                        <a:t>Part 1</a:t>
                      </a:r>
                    </a:p>
                  </a:txBody>
                  <a:tcPr/>
                </a:tc>
                <a:tc>
                  <a:txBody>
                    <a:bodyPr/>
                    <a:lstStyle/>
                    <a:p>
                      <a:pPr algn="r"/>
                      <a:r>
                        <a:rPr lang="en-GB" sz="2000" dirty="0"/>
                        <a:t>£4,000 + VAT</a:t>
                      </a:r>
                    </a:p>
                  </a:txBody>
                  <a:tcPr/>
                </a:tc>
                <a:tc>
                  <a:txBody>
                    <a:bodyPr/>
                    <a:lstStyle/>
                    <a:p>
                      <a:pPr algn="r"/>
                      <a:r>
                        <a:rPr lang="en-GB" sz="2000" dirty="0"/>
                        <a:t>£4,000 + VAT</a:t>
                      </a:r>
                    </a:p>
                  </a:txBody>
                  <a:tcPr/>
                </a:tc>
                <a:extLst>
                  <a:ext uri="{0D108BD9-81ED-4DB2-BD59-A6C34878D82A}">
                    <a16:rowId xmlns:a16="http://schemas.microsoft.com/office/drawing/2014/main" val="2896337768"/>
                  </a:ext>
                </a:extLst>
              </a:tr>
              <a:tr h="370840">
                <a:tc>
                  <a:txBody>
                    <a:bodyPr/>
                    <a:lstStyle/>
                    <a:p>
                      <a:r>
                        <a:rPr lang="en-GB" sz="2000" dirty="0"/>
                        <a:t>Part 2</a:t>
                      </a:r>
                    </a:p>
                  </a:txBody>
                  <a:tcPr/>
                </a:tc>
                <a:tc>
                  <a:txBody>
                    <a:bodyPr/>
                    <a:lstStyle/>
                    <a:p>
                      <a:pPr algn="r"/>
                      <a:r>
                        <a:rPr lang="en-GB" sz="2000" dirty="0"/>
                        <a:t>£10,000 + VAT</a:t>
                      </a:r>
                    </a:p>
                  </a:txBody>
                  <a:tcPr/>
                </a:tc>
                <a:tc>
                  <a:txBody>
                    <a:bodyPr/>
                    <a:lstStyle/>
                    <a:p>
                      <a:pPr algn="r"/>
                      <a:r>
                        <a:rPr lang="en-GB" sz="2000" dirty="0"/>
                        <a:t>£10,000 + VAT</a:t>
                      </a:r>
                    </a:p>
                  </a:txBody>
                  <a:tcPr/>
                </a:tc>
                <a:extLst>
                  <a:ext uri="{0D108BD9-81ED-4DB2-BD59-A6C34878D82A}">
                    <a16:rowId xmlns:a16="http://schemas.microsoft.com/office/drawing/2014/main" val="4087277877"/>
                  </a:ext>
                </a:extLst>
              </a:tr>
              <a:tr h="370840">
                <a:tc>
                  <a:txBody>
                    <a:bodyPr/>
                    <a:lstStyle/>
                    <a:p>
                      <a:r>
                        <a:rPr lang="en-GB" sz="2000" dirty="0"/>
                        <a:t>Mid-campaign dip (C.I.A.)</a:t>
                      </a:r>
                    </a:p>
                  </a:txBody>
                  <a:tcPr/>
                </a:tc>
                <a:tc>
                  <a:txBody>
                    <a:bodyPr/>
                    <a:lstStyle/>
                    <a:p>
                      <a:pPr algn="r"/>
                      <a:r>
                        <a:rPr lang="en-GB" sz="2000" dirty="0"/>
                        <a:t>£6,000 + VAT</a:t>
                      </a:r>
                    </a:p>
                  </a:txBody>
                  <a:tcPr/>
                </a:tc>
                <a:tc>
                  <a:txBody>
                    <a:bodyPr/>
                    <a:lstStyle/>
                    <a:p>
                      <a:pPr algn="r"/>
                      <a:r>
                        <a:rPr lang="en-GB" sz="2000" dirty="0"/>
                        <a:t>£6,000 + VAT</a:t>
                      </a:r>
                    </a:p>
                  </a:txBody>
                  <a:tcPr/>
                </a:tc>
                <a:extLst>
                  <a:ext uri="{0D108BD9-81ED-4DB2-BD59-A6C34878D82A}">
                    <a16:rowId xmlns:a16="http://schemas.microsoft.com/office/drawing/2014/main" val="1432329856"/>
                  </a:ext>
                </a:extLst>
              </a:tr>
              <a:tr h="370840">
                <a:tc>
                  <a:txBody>
                    <a:bodyPr/>
                    <a:lstStyle/>
                    <a:p>
                      <a:r>
                        <a:rPr lang="en-GB" sz="2000" dirty="0"/>
                        <a:t>Total for each market</a:t>
                      </a:r>
                    </a:p>
                  </a:txBody>
                  <a:tcPr/>
                </a:tc>
                <a:tc>
                  <a:txBody>
                    <a:bodyPr/>
                    <a:lstStyle/>
                    <a:p>
                      <a:pPr algn="r"/>
                      <a:r>
                        <a:rPr lang="en-GB" sz="2000" dirty="0"/>
                        <a:t>£20,000 + VAT</a:t>
                      </a:r>
                    </a:p>
                  </a:txBody>
                  <a:tcPr/>
                </a:tc>
                <a:tc>
                  <a:txBody>
                    <a:bodyPr/>
                    <a:lstStyle/>
                    <a:p>
                      <a:pPr algn="r"/>
                      <a:r>
                        <a:rPr lang="en-GB" sz="2000" dirty="0"/>
                        <a:t>£20,000 + VAT</a:t>
                      </a:r>
                    </a:p>
                  </a:txBody>
                  <a:tcPr/>
                </a:tc>
                <a:extLst>
                  <a:ext uri="{0D108BD9-81ED-4DB2-BD59-A6C34878D82A}">
                    <a16:rowId xmlns:a16="http://schemas.microsoft.com/office/drawing/2014/main" val="261076469"/>
                  </a:ext>
                </a:extLst>
              </a:tr>
              <a:tr h="0">
                <a:tc>
                  <a:txBody>
                    <a:bodyPr/>
                    <a:lstStyle/>
                    <a:p>
                      <a:endParaRPr lang="en-GB" sz="400" dirty="0"/>
                    </a:p>
                  </a:txBody>
                  <a:tcPr/>
                </a:tc>
                <a:tc>
                  <a:txBody>
                    <a:bodyPr/>
                    <a:lstStyle/>
                    <a:p>
                      <a:pPr algn="r"/>
                      <a:endParaRPr lang="en-GB" sz="400" dirty="0"/>
                    </a:p>
                  </a:txBody>
                  <a:tcPr/>
                </a:tc>
                <a:tc>
                  <a:txBody>
                    <a:bodyPr/>
                    <a:lstStyle/>
                    <a:p>
                      <a:pPr algn="r"/>
                      <a:endParaRPr lang="en-GB" sz="400" dirty="0"/>
                    </a:p>
                  </a:txBody>
                  <a:tcPr/>
                </a:tc>
                <a:extLst>
                  <a:ext uri="{0D108BD9-81ED-4DB2-BD59-A6C34878D82A}">
                    <a16:rowId xmlns:a16="http://schemas.microsoft.com/office/drawing/2014/main" val="1436488542"/>
                  </a:ext>
                </a:extLst>
              </a:tr>
              <a:tr h="370840">
                <a:tc>
                  <a:txBody>
                    <a:bodyPr/>
                    <a:lstStyle/>
                    <a:p>
                      <a:r>
                        <a:rPr lang="en-GB" sz="2000" b="1" dirty="0"/>
                        <a:t>2 markets total</a:t>
                      </a:r>
                    </a:p>
                  </a:txBody>
                  <a:tcPr/>
                </a:tc>
                <a:tc>
                  <a:txBody>
                    <a:bodyPr/>
                    <a:lstStyle/>
                    <a:p>
                      <a:endParaRPr lang="en-GB" sz="2000" b="1" dirty="0"/>
                    </a:p>
                  </a:txBody>
                  <a:tcPr/>
                </a:tc>
                <a:tc>
                  <a:txBody>
                    <a:bodyPr/>
                    <a:lstStyle/>
                    <a:p>
                      <a:r>
                        <a:rPr lang="en-GB" sz="2000" b="1" dirty="0"/>
                        <a:t>£40,000 + VAT</a:t>
                      </a:r>
                    </a:p>
                  </a:txBody>
                  <a:tcPr/>
                </a:tc>
                <a:extLst>
                  <a:ext uri="{0D108BD9-81ED-4DB2-BD59-A6C34878D82A}">
                    <a16:rowId xmlns:a16="http://schemas.microsoft.com/office/drawing/2014/main" val="492697100"/>
                  </a:ext>
                </a:extLst>
              </a:tr>
            </a:tbl>
          </a:graphicData>
        </a:graphic>
      </p:graphicFrame>
      <p:sp>
        <p:nvSpPr>
          <p:cNvPr id="6" name="Rectangle 5">
            <a:extLst>
              <a:ext uri="{FF2B5EF4-FFF2-40B4-BE49-F238E27FC236}">
                <a16:creationId xmlns:a16="http://schemas.microsoft.com/office/drawing/2014/main" id="{7F9B3E31-E393-413F-9F05-57C13465E903}"/>
              </a:ext>
            </a:extLst>
          </p:cNvPr>
          <p:cNvSpPr/>
          <p:nvPr/>
        </p:nvSpPr>
        <p:spPr>
          <a:xfrm>
            <a:off x="242691" y="5264210"/>
            <a:ext cx="4363492" cy="368996"/>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t"/>
          <a:lstStyle/>
          <a:p>
            <a:endParaRPr lang="en-GB" sz="1050" dirty="0">
              <a:solidFill>
                <a:schemeClr val="tx1"/>
              </a:solidFill>
              <a:ea typeface="Oswald Light" charset="0"/>
              <a:cs typeface="Oswald Light" charset="0"/>
            </a:endParaRPr>
          </a:p>
        </p:txBody>
      </p:sp>
    </p:spTree>
    <p:extLst>
      <p:ext uri="{BB962C8B-B14F-4D97-AF65-F5344CB8AC3E}">
        <p14:creationId xmlns:p14="http://schemas.microsoft.com/office/powerpoint/2010/main" val="42591157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icture Placeholder 1">
            <a:extLst>
              <a:ext uri="{FF2B5EF4-FFF2-40B4-BE49-F238E27FC236}">
                <a16:creationId xmlns:a16="http://schemas.microsoft.com/office/drawing/2014/main" id="{281E82C3-5F72-415B-8230-4D8FA9F4D9AB}"/>
              </a:ext>
            </a:extLst>
          </p:cNvPr>
          <p:cNvSpPr>
            <a:spLocks noGrp="1"/>
          </p:cNvSpPr>
          <p:nvPr>
            <p:ph type="pic" sz="quarter" idx="10"/>
          </p:nvPr>
        </p:nvSpPr>
        <p:spPr>
          <a:xfrm>
            <a:off x="0" y="0"/>
            <a:ext cx="2983130" cy="6858000"/>
          </a:xfrm>
        </p:spPr>
      </p:sp>
      <p:sp>
        <p:nvSpPr>
          <p:cNvPr id="2" name="Slide Number Placeholder 1">
            <a:extLst>
              <a:ext uri="{FF2B5EF4-FFF2-40B4-BE49-F238E27FC236}">
                <a16:creationId xmlns:a16="http://schemas.microsoft.com/office/drawing/2014/main" id="{4CF8EA66-ACAF-499D-9F08-2CB3B54DB78E}"/>
              </a:ext>
            </a:extLst>
          </p:cNvPr>
          <p:cNvSpPr>
            <a:spLocks noGrp="1"/>
          </p:cNvSpPr>
          <p:nvPr>
            <p:ph type="sldNum" sz="quarter" idx="4"/>
          </p:nvPr>
        </p:nvSpPr>
        <p:spPr>
          <a:xfrm>
            <a:off x="11468616" y="6556236"/>
            <a:ext cx="388544" cy="208181"/>
          </a:xfrm>
        </p:spPr>
        <p:txBody>
          <a:bodyPr anchor="ctr">
            <a:normAutofit/>
          </a:bodyPr>
          <a:lstStyle/>
          <a:p>
            <a:pPr>
              <a:lnSpc>
                <a:spcPct val="90000"/>
              </a:lnSpc>
              <a:spcAft>
                <a:spcPts val="600"/>
              </a:spcAft>
            </a:pPr>
            <a:fld id="{CCC91EE0-52FC-AE4F-BCCE-CF8E45753813}" type="slidenum">
              <a:rPr lang="en-GB" sz="800" smtClean="0"/>
              <a:pPr>
                <a:lnSpc>
                  <a:spcPct val="90000"/>
                </a:lnSpc>
                <a:spcAft>
                  <a:spcPts val="600"/>
                </a:spcAft>
              </a:pPr>
              <a:t>17</a:t>
            </a:fld>
            <a:endParaRPr lang="en-GB" sz="800"/>
          </a:p>
        </p:txBody>
      </p:sp>
      <p:sp>
        <p:nvSpPr>
          <p:cNvPr id="15" name="Footer Placeholder 3">
            <a:extLst>
              <a:ext uri="{FF2B5EF4-FFF2-40B4-BE49-F238E27FC236}">
                <a16:creationId xmlns:a16="http://schemas.microsoft.com/office/drawing/2014/main" id="{520DB874-CE7F-4D0A-8F69-FEABBAF407B6}"/>
              </a:ext>
            </a:extLst>
          </p:cNvPr>
          <p:cNvSpPr>
            <a:spLocks noGrp="1"/>
          </p:cNvSpPr>
          <p:nvPr>
            <p:ph type="ftr" sz="quarter" idx="14"/>
          </p:nvPr>
        </p:nvSpPr>
        <p:spPr>
          <a:xfrm>
            <a:off x="334841" y="6110714"/>
            <a:ext cx="2648288" cy="653704"/>
          </a:xfrm>
        </p:spPr>
        <p:txBody>
          <a:bodyPr/>
          <a:lstStyle/>
          <a:p>
            <a:pPr>
              <a:spcAft>
                <a:spcPts val="600"/>
              </a:spcAft>
            </a:pPr>
            <a:r>
              <a:rPr lang="en-GB"/>
              <a:t>Footer</a:t>
            </a:r>
          </a:p>
        </p:txBody>
      </p:sp>
      <p:sp>
        <p:nvSpPr>
          <p:cNvPr id="5" name="Title 4">
            <a:extLst>
              <a:ext uri="{FF2B5EF4-FFF2-40B4-BE49-F238E27FC236}">
                <a16:creationId xmlns:a16="http://schemas.microsoft.com/office/drawing/2014/main" id="{925A477A-D2B5-4795-B0C9-A7D1BD192B3F}"/>
              </a:ext>
            </a:extLst>
          </p:cNvPr>
          <p:cNvSpPr>
            <a:spLocks noGrp="1"/>
          </p:cNvSpPr>
          <p:nvPr>
            <p:ph type="title"/>
          </p:nvPr>
        </p:nvSpPr>
        <p:spPr>
          <a:xfrm>
            <a:off x="337803" y="300381"/>
            <a:ext cx="2651339" cy="2554545"/>
          </a:xfrm>
        </p:spPr>
        <p:txBody>
          <a:bodyPr wrap="square" anchor="t">
            <a:normAutofit/>
          </a:bodyPr>
          <a:lstStyle/>
          <a:p>
            <a:r>
              <a:rPr lang="en-GB" dirty="0"/>
              <a:t>Timings a for full project</a:t>
            </a:r>
          </a:p>
        </p:txBody>
      </p:sp>
      <p:graphicFrame>
        <p:nvGraphicFramePr>
          <p:cNvPr id="9" name="Text Placeholder 6">
            <a:extLst>
              <a:ext uri="{FF2B5EF4-FFF2-40B4-BE49-F238E27FC236}">
                <a16:creationId xmlns:a16="http://schemas.microsoft.com/office/drawing/2014/main" id="{8AACE157-1F1B-48CE-868D-32C1796D0893}"/>
              </a:ext>
            </a:extLst>
          </p:cNvPr>
          <p:cNvGraphicFramePr/>
          <p:nvPr>
            <p:extLst>
              <p:ext uri="{D42A27DB-BD31-4B8C-83A1-F6EECF244321}">
                <p14:modId xmlns:p14="http://schemas.microsoft.com/office/powerpoint/2010/main" val="1951345592"/>
              </p:ext>
            </p:extLst>
          </p:nvPr>
        </p:nvGraphicFramePr>
        <p:xfrm>
          <a:off x="3317970" y="300038"/>
          <a:ext cx="8539068" cy="59340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50" name="Picture 2" descr="Trustpilot - Wikipedia">
            <a:extLst>
              <a:ext uri="{FF2B5EF4-FFF2-40B4-BE49-F238E27FC236}">
                <a16:creationId xmlns:a16="http://schemas.microsoft.com/office/drawing/2014/main" id="{BDDB946A-5B9B-4048-83C3-6A83F91951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7790" y="5414249"/>
            <a:ext cx="1987550" cy="81986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02791887-C37E-4F82-81E4-01B583695A8D}"/>
              </a:ext>
            </a:extLst>
          </p:cNvPr>
          <p:cNvSpPr txBox="1"/>
          <p:nvPr/>
        </p:nvSpPr>
        <p:spPr>
          <a:xfrm>
            <a:off x="7020426" y="6425863"/>
            <a:ext cx="4138863" cy="338554"/>
          </a:xfrm>
          <a:prstGeom prst="rect">
            <a:avLst/>
          </a:prstGeom>
          <a:noFill/>
        </p:spPr>
        <p:txBody>
          <a:bodyPr wrap="square" rtlCol="0">
            <a:spAutoFit/>
          </a:bodyPr>
          <a:lstStyle/>
          <a:p>
            <a:pPr algn="l"/>
            <a:r>
              <a:rPr lang="en-GB" sz="800" dirty="0">
                <a:solidFill>
                  <a:srgbClr val="535353"/>
                </a:solidFill>
                <a:latin typeface="+mn-lt"/>
                <a:ea typeface="Oswald Light" charset="0"/>
                <a:cs typeface="Oswald Light" charset="0"/>
              </a:rPr>
              <a:t>NOTE: Timelines reflect a full scope project (Parts 1 +2). CIA results can be delivered in c. 2 weeks from receipt of data</a:t>
            </a:r>
          </a:p>
        </p:txBody>
      </p:sp>
    </p:spTree>
    <p:extLst>
      <p:ext uri="{BB962C8B-B14F-4D97-AF65-F5344CB8AC3E}">
        <p14:creationId xmlns:p14="http://schemas.microsoft.com/office/powerpoint/2010/main" val="32445879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856A3B4-8CF3-D048-8BF9-D21680F94F8E}"/>
              </a:ext>
            </a:extLst>
          </p:cNvPr>
          <p:cNvSpPr>
            <a:spLocks noGrp="1"/>
          </p:cNvSpPr>
          <p:nvPr>
            <p:ph type="pic" sz="quarter" idx="10"/>
          </p:nvPr>
        </p:nvSpPr>
        <p:spPr/>
      </p:sp>
      <p:sp>
        <p:nvSpPr>
          <p:cNvPr id="3" name="Slide Number Placeholder 2">
            <a:extLst>
              <a:ext uri="{FF2B5EF4-FFF2-40B4-BE49-F238E27FC236}">
                <a16:creationId xmlns:a16="http://schemas.microsoft.com/office/drawing/2014/main" id="{24983955-4DCE-EA41-9E22-B9A724008FED}"/>
              </a:ext>
            </a:extLst>
          </p:cNvPr>
          <p:cNvSpPr>
            <a:spLocks noGrp="1"/>
          </p:cNvSpPr>
          <p:nvPr>
            <p:ph type="sldNum" sz="quarter" idx="4"/>
          </p:nvPr>
        </p:nvSpPr>
        <p:spPr/>
        <p:txBody>
          <a:bodyPr/>
          <a:lstStyle/>
          <a:p>
            <a:fld id="{CCC91EE0-52FC-AE4F-BCCE-CF8E45753813}" type="slidenum">
              <a:rPr lang="en-GB" smtClean="0"/>
              <a:pPr/>
              <a:t>2</a:t>
            </a:fld>
            <a:endParaRPr lang="en-GB" dirty="0"/>
          </a:p>
        </p:txBody>
      </p:sp>
      <p:sp>
        <p:nvSpPr>
          <p:cNvPr id="4" name="Footer Placeholder 3">
            <a:extLst>
              <a:ext uri="{FF2B5EF4-FFF2-40B4-BE49-F238E27FC236}">
                <a16:creationId xmlns:a16="http://schemas.microsoft.com/office/drawing/2014/main" id="{CE09C078-5A8E-0E4F-ACF8-BC1739A146DE}"/>
              </a:ext>
            </a:extLst>
          </p:cNvPr>
          <p:cNvSpPr>
            <a:spLocks noGrp="1"/>
          </p:cNvSpPr>
          <p:nvPr>
            <p:ph type="ftr" sz="quarter" idx="14"/>
          </p:nvPr>
        </p:nvSpPr>
        <p:spPr/>
        <p:txBody>
          <a:bodyPr/>
          <a:lstStyle/>
          <a:p>
            <a:endParaRPr lang="en-GB"/>
          </a:p>
        </p:txBody>
      </p:sp>
      <p:sp>
        <p:nvSpPr>
          <p:cNvPr id="7" name="Text Placeholder 6">
            <a:extLst>
              <a:ext uri="{FF2B5EF4-FFF2-40B4-BE49-F238E27FC236}">
                <a16:creationId xmlns:a16="http://schemas.microsoft.com/office/drawing/2014/main" id="{A1E3002D-600A-B445-A396-949C77FAB6C6}"/>
              </a:ext>
            </a:extLst>
          </p:cNvPr>
          <p:cNvSpPr>
            <a:spLocks noGrp="1"/>
          </p:cNvSpPr>
          <p:nvPr>
            <p:ph type="body" sz="quarter" idx="15"/>
          </p:nvPr>
        </p:nvSpPr>
        <p:spPr/>
        <p:txBody>
          <a:bodyPr/>
          <a:lstStyle/>
          <a:p>
            <a:r>
              <a:rPr lang="en-US" dirty="0"/>
              <a:t>Intro to funnels</a:t>
            </a:r>
          </a:p>
        </p:txBody>
      </p:sp>
      <p:sp>
        <p:nvSpPr>
          <p:cNvPr id="6" name="Text Placeholder 5">
            <a:extLst>
              <a:ext uri="{FF2B5EF4-FFF2-40B4-BE49-F238E27FC236}">
                <a16:creationId xmlns:a16="http://schemas.microsoft.com/office/drawing/2014/main" id="{927E30DB-9644-9F4F-ACB7-6F2180A3D2F7}"/>
              </a:ext>
            </a:extLst>
          </p:cNvPr>
          <p:cNvSpPr>
            <a:spLocks noGrp="1"/>
          </p:cNvSpPr>
          <p:nvPr>
            <p:ph type="body" sz="quarter" idx="13"/>
          </p:nvPr>
        </p:nvSpPr>
        <p:spPr/>
        <p:txBody>
          <a:bodyPr/>
          <a:lstStyle/>
          <a:p>
            <a:r>
              <a:rPr lang="en-US" dirty="0"/>
              <a:t>01</a:t>
            </a:r>
          </a:p>
        </p:txBody>
      </p:sp>
      <p:sp>
        <p:nvSpPr>
          <p:cNvPr id="8" name="Text Placeholder 7">
            <a:extLst>
              <a:ext uri="{FF2B5EF4-FFF2-40B4-BE49-F238E27FC236}">
                <a16:creationId xmlns:a16="http://schemas.microsoft.com/office/drawing/2014/main" id="{5576A387-DDFF-0241-B2C1-E2BA1D20FCC9}"/>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5400242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0978A2A-5488-4665-A346-F912AB590B36}"/>
              </a:ext>
            </a:extLst>
          </p:cNvPr>
          <p:cNvSpPr>
            <a:spLocks noGrp="1"/>
          </p:cNvSpPr>
          <p:nvPr>
            <p:ph type="sldNum" sz="quarter" idx="4"/>
          </p:nvPr>
        </p:nvSpPr>
        <p:spPr/>
        <p:txBody>
          <a:bodyPr/>
          <a:lstStyle/>
          <a:p>
            <a:fld id="{CCC91EE0-52FC-AE4F-BCCE-CF8E45753813}" type="slidenum">
              <a:rPr lang="en-GB" smtClean="0"/>
              <a:pPr/>
              <a:t>3</a:t>
            </a:fld>
            <a:endParaRPr lang="en-GB" dirty="0"/>
          </a:p>
        </p:txBody>
      </p:sp>
      <p:sp>
        <p:nvSpPr>
          <p:cNvPr id="3" name="Footer Placeholder 2">
            <a:extLst>
              <a:ext uri="{FF2B5EF4-FFF2-40B4-BE49-F238E27FC236}">
                <a16:creationId xmlns:a16="http://schemas.microsoft.com/office/drawing/2014/main" id="{F1653CE0-12EB-4285-851F-D7DF246828AA}"/>
              </a:ext>
            </a:extLst>
          </p:cNvPr>
          <p:cNvSpPr>
            <a:spLocks noGrp="1"/>
          </p:cNvSpPr>
          <p:nvPr>
            <p:ph type="ftr" sz="quarter" idx="14"/>
          </p:nvPr>
        </p:nvSpPr>
        <p:spPr>
          <a:xfrm>
            <a:off x="334840" y="6537084"/>
            <a:ext cx="4634202" cy="227333"/>
          </a:xfrm>
        </p:spPr>
        <p:txBody>
          <a:bodyPr/>
          <a:lstStyle/>
          <a:p>
            <a:r>
              <a:rPr lang="en-GB" dirty="0"/>
              <a:t>*If 2 years worth of data is not available there are alternative methods using market data to supplement brand data</a:t>
            </a:r>
          </a:p>
          <a:p>
            <a:endParaRPr lang="en-GB" dirty="0"/>
          </a:p>
        </p:txBody>
      </p:sp>
      <p:sp>
        <p:nvSpPr>
          <p:cNvPr id="4" name="Text Placeholder 3">
            <a:extLst>
              <a:ext uri="{FF2B5EF4-FFF2-40B4-BE49-F238E27FC236}">
                <a16:creationId xmlns:a16="http://schemas.microsoft.com/office/drawing/2014/main" id="{D55A494B-4A6B-4A33-8891-E3D0F60816CB}"/>
              </a:ext>
            </a:extLst>
          </p:cNvPr>
          <p:cNvSpPr>
            <a:spLocks noGrp="1"/>
          </p:cNvSpPr>
          <p:nvPr>
            <p:ph type="body" sz="quarter" idx="13"/>
          </p:nvPr>
        </p:nvSpPr>
        <p:spPr/>
        <p:txBody>
          <a:bodyPr/>
          <a:lstStyle/>
          <a:p>
            <a:pPr>
              <a:lnSpc>
                <a:spcPct val="100000"/>
              </a:lnSpc>
            </a:pPr>
            <a:r>
              <a:rPr lang="en-GB" dirty="0"/>
              <a:t>Decision Funnel Analysis is also known as the purchase funnel, and describes the customer journey from the first moment of contact with your brand to the ultimate goal of a purchase / subscription.</a:t>
            </a:r>
          </a:p>
          <a:p>
            <a:pPr>
              <a:lnSpc>
                <a:spcPct val="100000"/>
              </a:lnSpc>
            </a:pPr>
            <a:r>
              <a:rPr lang="en-GB" dirty="0"/>
              <a:t>Decision funnel analysis is an important tool which can help with the following</a:t>
            </a:r>
            <a:br>
              <a:rPr lang="en-GB" dirty="0"/>
            </a:br>
            <a:endParaRPr lang="en-GB" dirty="0"/>
          </a:p>
          <a:p>
            <a:pPr marL="171450" indent="-171450">
              <a:lnSpc>
                <a:spcPct val="100000"/>
              </a:lnSpc>
              <a:spcBef>
                <a:spcPts val="600"/>
              </a:spcBef>
              <a:buFont typeface="Arial" panose="020B0604020202020204" pitchFamily="34" charset="0"/>
              <a:buChar char="•"/>
            </a:pPr>
            <a:r>
              <a:rPr lang="en-GB" dirty="0"/>
              <a:t>Planning marketing campaigns</a:t>
            </a:r>
          </a:p>
          <a:p>
            <a:pPr marL="171450" indent="-171450">
              <a:lnSpc>
                <a:spcPct val="100000"/>
              </a:lnSpc>
              <a:spcBef>
                <a:spcPts val="600"/>
              </a:spcBef>
              <a:buFont typeface="Arial" panose="020B0604020202020204" pitchFamily="34" charset="0"/>
              <a:buChar char="•"/>
            </a:pPr>
            <a:r>
              <a:rPr lang="en-GB" dirty="0"/>
              <a:t>Budget setting</a:t>
            </a:r>
          </a:p>
          <a:p>
            <a:pPr marL="171450" indent="-171450">
              <a:lnSpc>
                <a:spcPct val="100000"/>
              </a:lnSpc>
              <a:spcBef>
                <a:spcPts val="600"/>
              </a:spcBef>
              <a:buFont typeface="Arial" panose="020B0604020202020204" pitchFamily="34" charset="0"/>
              <a:buChar char="•"/>
            </a:pPr>
            <a:r>
              <a:rPr lang="en-GB" dirty="0"/>
              <a:t>Highlighting areas in order to improve your conversion rate (from potential to actual customers)</a:t>
            </a:r>
          </a:p>
          <a:p>
            <a:pPr marL="171450" indent="-171450">
              <a:lnSpc>
                <a:spcPct val="100000"/>
              </a:lnSpc>
              <a:spcBef>
                <a:spcPts val="600"/>
              </a:spcBef>
              <a:buFont typeface="Arial" panose="020B0604020202020204" pitchFamily="34" charset="0"/>
              <a:buChar char="•"/>
            </a:pPr>
            <a:r>
              <a:rPr lang="en-GB" dirty="0"/>
              <a:t>Evolving the sales process</a:t>
            </a:r>
          </a:p>
          <a:p>
            <a:pPr>
              <a:lnSpc>
                <a:spcPct val="100000"/>
              </a:lnSpc>
            </a:pPr>
            <a:endParaRPr lang="en-GB" dirty="0"/>
          </a:p>
          <a:p>
            <a:pPr>
              <a:lnSpc>
                <a:spcPct val="100000"/>
              </a:lnSpc>
            </a:pPr>
            <a:r>
              <a:rPr lang="en-GB" dirty="0"/>
              <a:t>The analysis usually requires at least 2 years* of data as these metrics tend to shift slowly over a long period of time. </a:t>
            </a:r>
          </a:p>
          <a:p>
            <a:endParaRPr lang="en-GB" dirty="0"/>
          </a:p>
        </p:txBody>
      </p:sp>
      <p:sp>
        <p:nvSpPr>
          <p:cNvPr id="5" name="Title 4">
            <a:extLst>
              <a:ext uri="{FF2B5EF4-FFF2-40B4-BE49-F238E27FC236}">
                <a16:creationId xmlns:a16="http://schemas.microsoft.com/office/drawing/2014/main" id="{E6C0BCE1-5284-482B-A4C3-DCB9E90E63A3}"/>
              </a:ext>
            </a:extLst>
          </p:cNvPr>
          <p:cNvSpPr>
            <a:spLocks noGrp="1"/>
          </p:cNvSpPr>
          <p:nvPr>
            <p:ph type="title"/>
          </p:nvPr>
        </p:nvSpPr>
        <p:spPr>
          <a:xfrm>
            <a:off x="334841" y="300381"/>
            <a:ext cx="11522319" cy="707886"/>
          </a:xfrm>
        </p:spPr>
        <p:txBody>
          <a:bodyPr/>
          <a:lstStyle/>
          <a:p>
            <a:r>
              <a:rPr lang="en-GB" dirty="0"/>
              <a:t>Decision Funnel analysis</a:t>
            </a:r>
          </a:p>
        </p:txBody>
      </p:sp>
    </p:spTree>
    <p:extLst>
      <p:ext uri="{BB962C8B-B14F-4D97-AF65-F5344CB8AC3E}">
        <p14:creationId xmlns:p14="http://schemas.microsoft.com/office/powerpoint/2010/main" val="5184235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0231BE4-C953-4DD5-B154-C98C5AF3E8F7}"/>
              </a:ext>
            </a:extLst>
          </p:cNvPr>
          <p:cNvSpPr/>
          <p:nvPr/>
        </p:nvSpPr>
        <p:spPr>
          <a:xfrm>
            <a:off x="60158" y="96253"/>
            <a:ext cx="5757110" cy="632259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bg1"/>
              </a:solidFill>
              <a:ea typeface="Oswald Light" charset="0"/>
              <a:cs typeface="Oswald Light" charset="0"/>
            </a:endParaRPr>
          </a:p>
        </p:txBody>
      </p:sp>
      <p:sp>
        <p:nvSpPr>
          <p:cNvPr id="5" name="Title 4"/>
          <p:cNvSpPr>
            <a:spLocks noGrp="1"/>
          </p:cNvSpPr>
          <p:nvPr>
            <p:ph type="title"/>
          </p:nvPr>
        </p:nvSpPr>
        <p:spPr/>
        <p:txBody>
          <a:bodyPr>
            <a:normAutofit/>
          </a:bodyPr>
          <a:lstStyle/>
          <a:p>
            <a:r>
              <a:rPr lang="en-GB" sz="2669" dirty="0"/>
              <a:t>BRAND EQUITY RELATIONSHIPS</a:t>
            </a:r>
          </a:p>
        </p:txBody>
      </p:sp>
      <p:sp>
        <p:nvSpPr>
          <p:cNvPr id="7" name="Text Placeholder 6"/>
          <p:cNvSpPr>
            <a:spLocks noGrp="1"/>
          </p:cNvSpPr>
          <p:nvPr>
            <p:ph type="body" sz="quarter" idx="13"/>
          </p:nvPr>
        </p:nvSpPr>
        <p:spPr/>
        <p:txBody>
          <a:bodyPr>
            <a:normAutofit/>
          </a:bodyPr>
          <a:lstStyle/>
          <a:p>
            <a:r>
              <a:rPr lang="en-GB" sz="1867" dirty="0"/>
              <a:t>The customer decision journey can be seen to follow a linear path, starting with customers becoming aware then all the way through to transaction.</a:t>
            </a:r>
          </a:p>
          <a:p>
            <a:endParaRPr lang="en-GB" sz="1867" dirty="0"/>
          </a:p>
          <a:p>
            <a:r>
              <a:rPr lang="en-GB" sz="1867" dirty="0"/>
              <a:t>This can be represented through a </a:t>
            </a:r>
            <a:r>
              <a:rPr lang="en-GB" sz="1867" b="1" dirty="0"/>
              <a:t>static</a:t>
            </a:r>
            <a:r>
              <a:rPr lang="en-GB" sz="1867" dirty="0"/>
              <a:t> funnel, or a </a:t>
            </a:r>
            <a:r>
              <a:rPr lang="en-GB" sz="1867" b="1" dirty="0"/>
              <a:t>dynamic</a:t>
            </a:r>
            <a:r>
              <a:rPr lang="en-GB" sz="1867" dirty="0"/>
              <a:t> funnel.</a:t>
            </a:r>
          </a:p>
        </p:txBody>
      </p:sp>
      <p:sp>
        <p:nvSpPr>
          <p:cNvPr id="26" name="TextBox 25">
            <a:extLst>
              <a:ext uri="{FF2B5EF4-FFF2-40B4-BE49-F238E27FC236}">
                <a16:creationId xmlns:a16="http://schemas.microsoft.com/office/drawing/2014/main" id="{065648CF-6D46-4FA6-A738-A6510F3B0F0A}"/>
              </a:ext>
            </a:extLst>
          </p:cNvPr>
          <p:cNvSpPr txBox="1"/>
          <p:nvPr/>
        </p:nvSpPr>
        <p:spPr>
          <a:xfrm>
            <a:off x="2794082" y="1944977"/>
            <a:ext cx="797013" cy="276999"/>
          </a:xfrm>
          <a:prstGeom prst="rect">
            <a:avLst/>
          </a:prstGeom>
          <a:noFill/>
          <a:effectLst/>
        </p:spPr>
        <p:txBody>
          <a:bodyPr wrap="none" rtlCol="0">
            <a:spAutoFit/>
          </a:bodyPr>
          <a:lstStyle/>
          <a:p>
            <a:pPr algn="ctr" defTabSz="914377" fontAlgn="auto">
              <a:spcBef>
                <a:spcPts val="0"/>
              </a:spcBef>
              <a:spcAft>
                <a:spcPts val="0"/>
              </a:spcAft>
            </a:pPr>
            <a:r>
              <a:rPr lang="en-GB" sz="1200" kern="0" dirty="0">
                <a:solidFill>
                  <a:schemeClr val="bg1"/>
                </a:solidFill>
                <a:latin typeface="+mn-lt"/>
                <a:cs typeface="Rockwell"/>
              </a:rPr>
              <a:t>Unaware</a:t>
            </a:r>
          </a:p>
        </p:txBody>
      </p:sp>
      <p:sp>
        <p:nvSpPr>
          <p:cNvPr id="27" name="Rectangle 26">
            <a:extLst>
              <a:ext uri="{FF2B5EF4-FFF2-40B4-BE49-F238E27FC236}">
                <a16:creationId xmlns:a16="http://schemas.microsoft.com/office/drawing/2014/main" id="{0E714E1B-7A35-40E9-A7C0-052A46C5518E}"/>
              </a:ext>
            </a:extLst>
          </p:cNvPr>
          <p:cNvSpPr/>
          <p:nvPr/>
        </p:nvSpPr>
        <p:spPr>
          <a:xfrm>
            <a:off x="1675671" y="2502261"/>
            <a:ext cx="3033835"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28" name="Rectangle 27">
            <a:extLst>
              <a:ext uri="{FF2B5EF4-FFF2-40B4-BE49-F238E27FC236}">
                <a16:creationId xmlns:a16="http://schemas.microsoft.com/office/drawing/2014/main" id="{9E16DC70-E706-4925-8D1F-25669D1ED72A}"/>
              </a:ext>
            </a:extLst>
          </p:cNvPr>
          <p:cNvSpPr/>
          <p:nvPr/>
        </p:nvSpPr>
        <p:spPr>
          <a:xfrm>
            <a:off x="1994751" y="2842390"/>
            <a:ext cx="2395675"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29" name="Rectangle 28">
            <a:extLst>
              <a:ext uri="{FF2B5EF4-FFF2-40B4-BE49-F238E27FC236}">
                <a16:creationId xmlns:a16="http://schemas.microsoft.com/office/drawing/2014/main" id="{AB9FF293-2533-4A8B-B6F4-9C1859F9D57C}"/>
              </a:ext>
            </a:extLst>
          </p:cNvPr>
          <p:cNvSpPr/>
          <p:nvPr/>
        </p:nvSpPr>
        <p:spPr>
          <a:xfrm>
            <a:off x="2217987" y="3184506"/>
            <a:ext cx="1949204"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defTabSz="914377" fontAlgn="auto">
              <a:lnSpc>
                <a:spcPct val="112000"/>
              </a:lnSpc>
              <a:spcBef>
                <a:spcPts val="1500"/>
              </a:spcBef>
              <a:spcAft>
                <a:spcPts val="0"/>
              </a:spcAft>
            </a:pPr>
            <a:endParaRPr lang="en-GB" sz="1600" kern="0" dirty="0">
              <a:solidFill>
                <a:schemeClr val="bg1"/>
              </a:solidFill>
              <a:cs typeface="Arial"/>
            </a:endParaRPr>
          </a:p>
        </p:txBody>
      </p:sp>
      <p:sp>
        <p:nvSpPr>
          <p:cNvPr id="30" name="Rectangle 29">
            <a:extLst>
              <a:ext uri="{FF2B5EF4-FFF2-40B4-BE49-F238E27FC236}">
                <a16:creationId xmlns:a16="http://schemas.microsoft.com/office/drawing/2014/main" id="{49B2FD4D-4207-4695-8BED-25754FCBD64F}"/>
              </a:ext>
            </a:extLst>
          </p:cNvPr>
          <p:cNvSpPr/>
          <p:nvPr/>
        </p:nvSpPr>
        <p:spPr>
          <a:xfrm>
            <a:off x="2386871" y="3526390"/>
            <a:ext cx="1611436"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31" name="Rectangle 30">
            <a:extLst>
              <a:ext uri="{FF2B5EF4-FFF2-40B4-BE49-F238E27FC236}">
                <a16:creationId xmlns:a16="http://schemas.microsoft.com/office/drawing/2014/main" id="{B8AD8F15-8F30-49AB-B301-9CC94AF97CDD}"/>
              </a:ext>
            </a:extLst>
          </p:cNvPr>
          <p:cNvSpPr/>
          <p:nvPr/>
        </p:nvSpPr>
        <p:spPr>
          <a:xfrm>
            <a:off x="2678394" y="3863879"/>
            <a:ext cx="1028391"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40" name="Rectangle 39">
            <a:extLst>
              <a:ext uri="{FF2B5EF4-FFF2-40B4-BE49-F238E27FC236}">
                <a16:creationId xmlns:a16="http://schemas.microsoft.com/office/drawing/2014/main" id="{540676DF-3F09-4643-91BB-4B574D78F506}"/>
              </a:ext>
            </a:extLst>
          </p:cNvPr>
          <p:cNvSpPr/>
          <p:nvPr/>
        </p:nvSpPr>
        <p:spPr>
          <a:xfrm>
            <a:off x="2843027" y="4203885"/>
            <a:ext cx="699123"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41" name="Down Arrow 5">
            <a:extLst>
              <a:ext uri="{FF2B5EF4-FFF2-40B4-BE49-F238E27FC236}">
                <a16:creationId xmlns:a16="http://schemas.microsoft.com/office/drawing/2014/main" id="{4C2E069D-967E-45BD-AEF5-82783B4746CE}"/>
              </a:ext>
            </a:extLst>
          </p:cNvPr>
          <p:cNvSpPr/>
          <p:nvPr/>
        </p:nvSpPr>
        <p:spPr>
          <a:xfrm>
            <a:off x="3049154" y="2325842"/>
            <a:ext cx="286871" cy="2712324"/>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42" name="Rectangle 41">
            <a:extLst>
              <a:ext uri="{FF2B5EF4-FFF2-40B4-BE49-F238E27FC236}">
                <a16:creationId xmlns:a16="http://schemas.microsoft.com/office/drawing/2014/main" id="{3AF4B38B-2541-4A57-9847-2FB4815CBC7E}"/>
              </a:ext>
            </a:extLst>
          </p:cNvPr>
          <p:cNvSpPr/>
          <p:nvPr/>
        </p:nvSpPr>
        <p:spPr>
          <a:xfrm>
            <a:off x="1994751" y="5214585"/>
            <a:ext cx="2395675"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r>
              <a:rPr lang="en-GB" sz="1400" kern="0" dirty="0">
                <a:solidFill>
                  <a:schemeClr val="bg1"/>
                </a:solidFill>
                <a:cs typeface="Arial"/>
              </a:rPr>
              <a:t>Brand Ambassador</a:t>
            </a:r>
          </a:p>
        </p:txBody>
      </p:sp>
      <p:sp>
        <p:nvSpPr>
          <p:cNvPr id="43" name="TextBox 42">
            <a:extLst>
              <a:ext uri="{FF2B5EF4-FFF2-40B4-BE49-F238E27FC236}">
                <a16:creationId xmlns:a16="http://schemas.microsoft.com/office/drawing/2014/main" id="{2218A718-93C7-4EEA-B389-8A71D72995C8}"/>
              </a:ext>
            </a:extLst>
          </p:cNvPr>
          <p:cNvSpPr txBox="1"/>
          <p:nvPr/>
        </p:nvSpPr>
        <p:spPr>
          <a:xfrm>
            <a:off x="2239122" y="2480833"/>
            <a:ext cx="1726755" cy="276999"/>
          </a:xfrm>
          <a:prstGeom prst="rect">
            <a:avLst/>
          </a:prstGeom>
          <a:noFill/>
          <a:effectLst/>
        </p:spPr>
        <p:txBody>
          <a:bodyPr wrap="none" rtlCol="0">
            <a:spAutoFit/>
          </a:bodyPr>
          <a:lstStyle/>
          <a:p>
            <a:pPr defTabSz="914377" fontAlgn="auto">
              <a:spcBef>
                <a:spcPts val="0"/>
              </a:spcBef>
              <a:spcAft>
                <a:spcPts val="0"/>
              </a:spcAft>
            </a:pPr>
            <a:r>
              <a:rPr lang="en-GB" sz="1200" kern="0" dirty="0">
                <a:solidFill>
                  <a:schemeClr val="bg1"/>
                </a:solidFill>
                <a:latin typeface="+mn-lt"/>
                <a:cs typeface="Rockwell"/>
              </a:rPr>
              <a:t>1. Unaided Awareness</a:t>
            </a:r>
          </a:p>
        </p:txBody>
      </p:sp>
      <p:sp>
        <p:nvSpPr>
          <p:cNvPr id="44" name="TextBox 43">
            <a:extLst>
              <a:ext uri="{FF2B5EF4-FFF2-40B4-BE49-F238E27FC236}">
                <a16:creationId xmlns:a16="http://schemas.microsoft.com/office/drawing/2014/main" id="{2358550C-AB86-4DCE-9FDF-424297E57A5F}"/>
              </a:ext>
            </a:extLst>
          </p:cNvPr>
          <p:cNvSpPr txBox="1"/>
          <p:nvPr/>
        </p:nvSpPr>
        <p:spPr>
          <a:xfrm>
            <a:off x="2618501" y="3157057"/>
            <a:ext cx="1090363" cy="276999"/>
          </a:xfrm>
          <a:prstGeom prst="rect">
            <a:avLst/>
          </a:prstGeom>
          <a:noFill/>
          <a:effectLst/>
        </p:spPr>
        <p:txBody>
          <a:bodyPr wrap="none" rtlCol="0">
            <a:spAutoFit/>
          </a:bodyPr>
          <a:lstStyle/>
          <a:p>
            <a:pPr defTabSz="914377" fontAlgn="auto">
              <a:spcBef>
                <a:spcPts val="0"/>
              </a:spcBef>
              <a:spcAft>
                <a:spcPts val="0"/>
              </a:spcAft>
            </a:pPr>
            <a:r>
              <a:rPr lang="en-GB" sz="1200" kern="0" dirty="0">
                <a:solidFill>
                  <a:schemeClr val="bg1"/>
                </a:solidFill>
                <a:latin typeface="+mn-lt"/>
                <a:cs typeface="Rockwell"/>
              </a:rPr>
              <a:t>3. Familiarity</a:t>
            </a:r>
          </a:p>
        </p:txBody>
      </p:sp>
      <p:sp>
        <p:nvSpPr>
          <p:cNvPr id="45" name="TextBox 44">
            <a:extLst>
              <a:ext uri="{FF2B5EF4-FFF2-40B4-BE49-F238E27FC236}">
                <a16:creationId xmlns:a16="http://schemas.microsoft.com/office/drawing/2014/main" id="{5FF2825A-7A6C-4E8F-9C56-BBDA5CBC8206}"/>
              </a:ext>
            </a:extLst>
          </p:cNvPr>
          <p:cNvSpPr txBox="1"/>
          <p:nvPr/>
        </p:nvSpPr>
        <p:spPr>
          <a:xfrm>
            <a:off x="1874707" y="3499271"/>
            <a:ext cx="2350323" cy="276999"/>
          </a:xfrm>
          <a:prstGeom prst="rect">
            <a:avLst/>
          </a:prstGeom>
          <a:noFill/>
          <a:effectLst/>
        </p:spPr>
        <p:txBody>
          <a:bodyPr wrap="none" rtlCol="0">
            <a:spAutoFit/>
          </a:bodyPr>
          <a:lstStyle/>
          <a:p>
            <a:pPr defTabSz="914377" fontAlgn="auto">
              <a:spcBef>
                <a:spcPts val="0"/>
              </a:spcBef>
              <a:spcAft>
                <a:spcPts val="0"/>
              </a:spcAft>
            </a:pPr>
            <a:r>
              <a:rPr lang="en-GB" sz="1200" kern="0" dirty="0">
                <a:solidFill>
                  <a:schemeClr val="bg1"/>
                </a:solidFill>
                <a:latin typeface="+mn-lt"/>
                <a:cs typeface="Rockwell"/>
              </a:rPr>
              <a:t>4. Brand/Product understanding</a:t>
            </a:r>
          </a:p>
        </p:txBody>
      </p:sp>
      <p:sp>
        <p:nvSpPr>
          <p:cNvPr id="46" name="TextBox 45">
            <a:extLst>
              <a:ext uri="{FF2B5EF4-FFF2-40B4-BE49-F238E27FC236}">
                <a16:creationId xmlns:a16="http://schemas.microsoft.com/office/drawing/2014/main" id="{DCCA930E-8F4E-4C49-8D85-CD596EFCA433}"/>
              </a:ext>
            </a:extLst>
          </p:cNvPr>
          <p:cNvSpPr txBox="1"/>
          <p:nvPr/>
        </p:nvSpPr>
        <p:spPr>
          <a:xfrm>
            <a:off x="2084716" y="3835127"/>
            <a:ext cx="2566728" cy="276999"/>
          </a:xfrm>
          <a:prstGeom prst="rect">
            <a:avLst/>
          </a:prstGeom>
          <a:noFill/>
          <a:effectLst/>
        </p:spPr>
        <p:txBody>
          <a:bodyPr wrap="none" rtlCol="0">
            <a:spAutoFit/>
          </a:bodyPr>
          <a:lstStyle/>
          <a:p>
            <a:pPr defTabSz="914377" fontAlgn="auto">
              <a:spcBef>
                <a:spcPts val="0"/>
              </a:spcBef>
              <a:spcAft>
                <a:spcPts val="0"/>
              </a:spcAft>
            </a:pPr>
            <a:r>
              <a:rPr lang="en-GB" sz="1200" kern="0" dirty="0">
                <a:solidFill>
                  <a:schemeClr val="bg1"/>
                </a:solidFill>
                <a:latin typeface="+mn-lt"/>
                <a:cs typeface="Rockwell"/>
              </a:rPr>
              <a:t>5. Of critical value to their business</a:t>
            </a:r>
          </a:p>
        </p:txBody>
      </p:sp>
      <p:sp>
        <p:nvSpPr>
          <p:cNvPr id="47" name="TextBox 46">
            <a:extLst>
              <a:ext uri="{FF2B5EF4-FFF2-40B4-BE49-F238E27FC236}">
                <a16:creationId xmlns:a16="http://schemas.microsoft.com/office/drawing/2014/main" id="{5D8DEB8E-5914-4376-91E6-41E346C46B7E}"/>
              </a:ext>
            </a:extLst>
          </p:cNvPr>
          <p:cNvSpPr txBox="1"/>
          <p:nvPr/>
        </p:nvSpPr>
        <p:spPr>
          <a:xfrm>
            <a:off x="2100195" y="4181854"/>
            <a:ext cx="1970411" cy="276999"/>
          </a:xfrm>
          <a:prstGeom prst="rect">
            <a:avLst/>
          </a:prstGeom>
          <a:noFill/>
          <a:effectLst/>
        </p:spPr>
        <p:txBody>
          <a:bodyPr wrap="none" rtlCol="0">
            <a:spAutoFit/>
          </a:bodyPr>
          <a:lstStyle/>
          <a:p>
            <a:pPr defTabSz="914377" fontAlgn="auto">
              <a:spcBef>
                <a:spcPts val="0"/>
              </a:spcBef>
              <a:spcAft>
                <a:spcPts val="0"/>
              </a:spcAft>
            </a:pPr>
            <a:r>
              <a:rPr lang="en-GB" sz="1200" kern="0" dirty="0">
                <a:solidFill>
                  <a:schemeClr val="bg1"/>
                </a:solidFill>
                <a:latin typeface="+mn-lt"/>
                <a:cs typeface="Rockwell"/>
              </a:rPr>
              <a:t>6. Interested in the market</a:t>
            </a:r>
          </a:p>
        </p:txBody>
      </p:sp>
      <p:sp>
        <p:nvSpPr>
          <p:cNvPr id="48" name="TextBox 47">
            <a:extLst>
              <a:ext uri="{FF2B5EF4-FFF2-40B4-BE49-F238E27FC236}">
                <a16:creationId xmlns:a16="http://schemas.microsoft.com/office/drawing/2014/main" id="{AE71AE46-301F-47F0-B63A-11641CE5E257}"/>
              </a:ext>
            </a:extLst>
          </p:cNvPr>
          <p:cNvSpPr txBox="1"/>
          <p:nvPr/>
        </p:nvSpPr>
        <p:spPr>
          <a:xfrm>
            <a:off x="2332096" y="2816689"/>
            <a:ext cx="1548822" cy="276999"/>
          </a:xfrm>
          <a:prstGeom prst="rect">
            <a:avLst/>
          </a:prstGeom>
          <a:noFill/>
          <a:effectLst/>
        </p:spPr>
        <p:txBody>
          <a:bodyPr wrap="none" rtlCol="0">
            <a:spAutoFit/>
          </a:bodyPr>
          <a:lstStyle/>
          <a:p>
            <a:pPr defTabSz="914377" fontAlgn="auto">
              <a:spcBef>
                <a:spcPts val="0"/>
              </a:spcBef>
              <a:spcAft>
                <a:spcPts val="0"/>
              </a:spcAft>
            </a:pPr>
            <a:r>
              <a:rPr lang="en-GB" sz="1200" kern="0" dirty="0">
                <a:solidFill>
                  <a:schemeClr val="bg1"/>
                </a:solidFill>
                <a:latin typeface="+mn-lt"/>
                <a:cs typeface="Rockwell"/>
              </a:rPr>
              <a:t>2. Aided Awareness</a:t>
            </a:r>
          </a:p>
        </p:txBody>
      </p:sp>
    </p:spTree>
    <p:extLst>
      <p:ext uri="{BB962C8B-B14F-4D97-AF65-F5344CB8AC3E}">
        <p14:creationId xmlns:p14="http://schemas.microsoft.com/office/powerpoint/2010/main" val="4771615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2942307" y="2763217"/>
            <a:ext cx="197223" cy="3629412"/>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2" name="Title 1"/>
          <p:cNvSpPr>
            <a:spLocks noGrp="1"/>
          </p:cNvSpPr>
          <p:nvPr>
            <p:ph type="title" idx="4294967295"/>
          </p:nvPr>
        </p:nvSpPr>
        <p:spPr>
          <a:xfrm>
            <a:off x="616419" y="431508"/>
            <a:ext cx="5124450" cy="1143000"/>
          </a:xfrm>
        </p:spPr>
        <p:txBody>
          <a:bodyPr>
            <a:normAutofit/>
          </a:bodyPr>
          <a:lstStyle/>
          <a:p>
            <a:pPr algn="ctr"/>
            <a:r>
              <a:rPr lang="en-GB" sz="2669" dirty="0"/>
              <a:t>STATIC FUNNELS</a:t>
            </a:r>
          </a:p>
        </p:txBody>
      </p:sp>
      <p:sp>
        <p:nvSpPr>
          <p:cNvPr id="45" name="Title 1"/>
          <p:cNvSpPr>
            <a:spLocks noGrp="1"/>
          </p:cNvSpPr>
          <p:nvPr>
            <p:ph type="body" sz="quarter" idx="4294967295"/>
          </p:nvPr>
        </p:nvSpPr>
        <p:spPr>
          <a:xfrm>
            <a:off x="6451133" y="372468"/>
            <a:ext cx="5124450" cy="1144588"/>
          </a:xfrm>
        </p:spPr>
        <p:txBody>
          <a:bodyPr>
            <a:normAutofit/>
          </a:bodyPr>
          <a:lstStyle/>
          <a:p>
            <a:pPr algn="ctr"/>
            <a:r>
              <a:rPr lang="en-GB" sz="2669" dirty="0">
                <a:solidFill>
                  <a:schemeClr val="tx1"/>
                </a:solidFill>
                <a:latin typeface="+mj-lt"/>
              </a:rPr>
              <a:t>DYNAMIC FUNNELS</a:t>
            </a:r>
          </a:p>
        </p:txBody>
      </p:sp>
      <p:sp>
        <p:nvSpPr>
          <p:cNvPr id="5" name="Text Placeholder 73"/>
          <p:cNvSpPr txBox="1">
            <a:spLocks/>
          </p:cNvSpPr>
          <p:nvPr/>
        </p:nvSpPr>
        <p:spPr>
          <a:xfrm>
            <a:off x="161003" y="1182994"/>
            <a:ext cx="5898739" cy="966212"/>
          </a:xfrm>
          <a:prstGeom prst="rect">
            <a:avLst/>
          </a:prstGeom>
          <a:ln>
            <a:noFill/>
          </a:ln>
        </p:spPr>
        <p:txBody>
          <a:bodyPr anchor="t" anchorCtr="0"/>
          <a:lstStyle>
            <a:lvl1pPr marL="0" indent="0" algn="l" defTabSz="457200" rtl="0" eaLnBrk="1" latinLnBrk="0" hangingPunct="1">
              <a:spcBef>
                <a:spcPct val="20000"/>
              </a:spcBef>
              <a:buFont typeface="Arial"/>
              <a:buNone/>
              <a:defRPr sz="1200" b="0" i="0" kern="1200">
                <a:solidFill>
                  <a:schemeClr val="tx1"/>
                </a:solidFill>
                <a:latin typeface="Rockwell"/>
                <a:ea typeface="+mn-ea"/>
                <a:cs typeface="Rockwell"/>
              </a:defRPr>
            </a:lvl1pPr>
            <a:lvl2pPr marL="0" indent="0" algn="l" defTabSz="457200" rtl="0" eaLnBrk="1" latinLnBrk="0" hangingPunct="1">
              <a:spcBef>
                <a:spcPct val="20000"/>
              </a:spcBef>
              <a:buFont typeface="Arial"/>
              <a:buNone/>
              <a:defRPr sz="1200" kern="1200">
                <a:solidFill>
                  <a:schemeClr val="tx1"/>
                </a:solidFill>
                <a:latin typeface="Rockwell"/>
                <a:ea typeface="+mn-ea"/>
                <a:cs typeface="Rockwell"/>
              </a:defRPr>
            </a:lvl2pPr>
            <a:lvl3pPr marL="0" indent="0" algn="l" defTabSz="457200" rtl="0" eaLnBrk="1" latinLnBrk="0" hangingPunct="1">
              <a:spcBef>
                <a:spcPct val="20000"/>
              </a:spcBef>
              <a:buFont typeface="Arial"/>
              <a:buNone/>
              <a:defRPr sz="1200" kern="1200">
                <a:solidFill>
                  <a:schemeClr val="tx1"/>
                </a:solidFill>
                <a:latin typeface="Rockwell"/>
                <a:ea typeface="+mn-ea"/>
                <a:cs typeface="Rockwell"/>
              </a:defRPr>
            </a:lvl3pPr>
            <a:lvl4pPr marL="0" indent="0" algn="l" defTabSz="457200" rtl="0" eaLnBrk="1" latinLnBrk="0" hangingPunct="1">
              <a:spcBef>
                <a:spcPct val="20000"/>
              </a:spcBef>
              <a:buFont typeface="Arial"/>
              <a:buNone/>
              <a:defRPr sz="1200" kern="1200">
                <a:solidFill>
                  <a:schemeClr val="tx1"/>
                </a:solidFill>
                <a:latin typeface="Rockwell"/>
                <a:ea typeface="+mn-ea"/>
                <a:cs typeface="Rockwell"/>
              </a:defRPr>
            </a:lvl4pPr>
            <a:lvl5pPr marL="0" indent="0" algn="l" defTabSz="457200" rtl="0" eaLnBrk="1" latinLnBrk="0" hangingPunct="1">
              <a:spcBef>
                <a:spcPct val="20000"/>
              </a:spcBef>
              <a:buFont typeface="Arial"/>
              <a:buNone/>
              <a:defRPr sz="1200" kern="1200">
                <a:solidFill>
                  <a:schemeClr val="tx1"/>
                </a:solidFill>
                <a:latin typeface="Rockwell"/>
                <a:ea typeface="+mn-ea"/>
                <a:cs typeface="Rockwel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457189" fontAlgn="auto">
              <a:spcAft>
                <a:spcPts val="0"/>
              </a:spcAft>
            </a:pPr>
            <a:r>
              <a:rPr lang="en-GB" dirty="0">
                <a:latin typeface="+mn-lt"/>
              </a:rPr>
              <a:t>The average score is taken at a static point in time across all metrics selected for the brand funnel. This could be end of year for example, using the average across the year. These can be run for the brand and competitors or the category to compare the funnel levels and shape.</a:t>
            </a:r>
          </a:p>
        </p:txBody>
      </p:sp>
      <p:sp>
        <p:nvSpPr>
          <p:cNvPr id="7" name="TextBox 6"/>
          <p:cNvSpPr txBox="1"/>
          <p:nvPr/>
        </p:nvSpPr>
        <p:spPr>
          <a:xfrm>
            <a:off x="5496323" y="2842327"/>
            <a:ext cx="1199366" cy="276999"/>
          </a:xfrm>
          <a:prstGeom prst="rect">
            <a:avLst/>
          </a:prstGeom>
          <a:noFill/>
          <a:effectLst/>
        </p:spPr>
        <p:txBody>
          <a:bodyPr wrap="none" rtlCol="0">
            <a:spAutoFit/>
          </a:bodyPr>
          <a:lstStyle/>
          <a:p>
            <a:pPr algn="ctr" defTabSz="914377" fontAlgn="auto">
              <a:spcBef>
                <a:spcPts val="0"/>
              </a:spcBef>
              <a:spcAft>
                <a:spcPts val="0"/>
              </a:spcAft>
            </a:pPr>
            <a:r>
              <a:rPr lang="en-GB" sz="1200" kern="0" dirty="0" err="1">
                <a:solidFill>
                  <a:sysClr val="windowText" lastClr="000000"/>
                </a:solidFill>
                <a:latin typeface="+mn-lt"/>
                <a:cs typeface="Rockwell"/>
              </a:rPr>
              <a:t>Comms</a:t>
            </a:r>
            <a:r>
              <a:rPr lang="en-GB" sz="1200" kern="0" dirty="0">
                <a:solidFill>
                  <a:sysClr val="windowText" lastClr="000000"/>
                </a:solidFill>
                <a:latin typeface="+mn-lt"/>
                <a:cs typeface="Rockwell"/>
              </a:rPr>
              <a:t> Spend</a:t>
            </a:r>
          </a:p>
        </p:txBody>
      </p:sp>
      <p:sp>
        <p:nvSpPr>
          <p:cNvPr id="8" name="TextBox 7"/>
          <p:cNvSpPr txBox="1"/>
          <p:nvPr/>
        </p:nvSpPr>
        <p:spPr>
          <a:xfrm>
            <a:off x="5176524" y="3360867"/>
            <a:ext cx="1838965" cy="276999"/>
          </a:xfrm>
          <a:prstGeom prst="rect">
            <a:avLst/>
          </a:prstGeom>
          <a:noFill/>
          <a:effectLst/>
        </p:spPr>
        <p:txBody>
          <a:bodyPr wrap="none" rtlCol="0">
            <a:spAutoFit/>
          </a:bodyPr>
          <a:lstStyle/>
          <a:p>
            <a:pPr algn="ctr" defTabSz="914377" fontAlgn="auto">
              <a:spcBef>
                <a:spcPts val="0"/>
              </a:spcBef>
              <a:spcAft>
                <a:spcPts val="0"/>
              </a:spcAft>
            </a:pPr>
            <a:r>
              <a:rPr lang="en-GB" sz="1200" kern="0" dirty="0">
                <a:solidFill>
                  <a:sysClr val="windowText" lastClr="000000"/>
                </a:solidFill>
                <a:latin typeface="+mn-lt"/>
                <a:cs typeface="Rockwell"/>
              </a:rPr>
              <a:t>Awareness (brand &amp; ad)</a:t>
            </a:r>
          </a:p>
        </p:txBody>
      </p:sp>
      <p:sp>
        <p:nvSpPr>
          <p:cNvPr id="9" name="TextBox 8"/>
          <p:cNvSpPr txBox="1"/>
          <p:nvPr/>
        </p:nvSpPr>
        <p:spPr>
          <a:xfrm>
            <a:off x="5257473" y="3879407"/>
            <a:ext cx="1677061" cy="276999"/>
          </a:xfrm>
          <a:prstGeom prst="rect">
            <a:avLst/>
          </a:prstGeom>
          <a:noFill/>
          <a:effectLst/>
        </p:spPr>
        <p:txBody>
          <a:bodyPr wrap="none" rtlCol="0">
            <a:spAutoFit/>
          </a:bodyPr>
          <a:lstStyle/>
          <a:p>
            <a:pPr algn="ctr" defTabSz="914377" fontAlgn="auto">
              <a:spcBef>
                <a:spcPts val="0"/>
              </a:spcBef>
              <a:spcAft>
                <a:spcPts val="0"/>
              </a:spcAft>
            </a:pPr>
            <a:r>
              <a:rPr lang="en-GB" sz="1200" kern="0" dirty="0">
                <a:solidFill>
                  <a:sysClr val="windowText" lastClr="000000"/>
                </a:solidFill>
                <a:latin typeface="+mn-lt"/>
                <a:cs typeface="Rockwell"/>
              </a:rPr>
              <a:t>Research &amp; familiarity</a:t>
            </a:r>
          </a:p>
        </p:txBody>
      </p:sp>
      <p:sp>
        <p:nvSpPr>
          <p:cNvPr id="10" name="TextBox 9"/>
          <p:cNvSpPr txBox="1"/>
          <p:nvPr/>
        </p:nvSpPr>
        <p:spPr>
          <a:xfrm>
            <a:off x="5359263" y="4397947"/>
            <a:ext cx="1473480" cy="276999"/>
          </a:xfrm>
          <a:prstGeom prst="rect">
            <a:avLst/>
          </a:prstGeom>
          <a:noFill/>
          <a:effectLst/>
        </p:spPr>
        <p:txBody>
          <a:bodyPr wrap="none" rtlCol="0">
            <a:spAutoFit/>
          </a:bodyPr>
          <a:lstStyle/>
          <a:p>
            <a:pPr algn="ctr" defTabSz="914377" fontAlgn="auto">
              <a:spcBef>
                <a:spcPts val="0"/>
              </a:spcBef>
              <a:spcAft>
                <a:spcPts val="0"/>
              </a:spcAft>
            </a:pPr>
            <a:r>
              <a:rPr lang="en-GB" sz="1200" kern="0" dirty="0">
                <a:solidFill>
                  <a:sysClr val="windowText" lastClr="000000"/>
                </a:solidFill>
                <a:latin typeface="+mn-lt"/>
                <a:cs typeface="Rockwell"/>
              </a:rPr>
              <a:t>Opinion &amp; short list</a:t>
            </a:r>
          </a:p>
        </p:txBody>
      </p:sp>
      <p:sp>
        <p:nvSpPr>
          <p:cNvPr id="11" name="TextBox 10"/>
          <p:cNvSpPr txBox="1"/>
          <p:nvPr/>
        </p:nvSpPr>
        <p:spPr>
          <a:xfrm>
            <a:off x="5531584" y="4916487"/>
            <a:ext cx="1128834" cy="276999"/>
          </a:xfrm>
          <a:prstGeom prst="rect">
            <a:avLst/>
          </a:prstGeom>
          <a:noFill/>
          <a:effectLst/>
        </p:spPr>
        <p:txBody>
          <a:bodyPr wrap="none" rtlCol="0">
            <a:spAutoFit/>
          </a:bodyPr>
          <a:lstStyle/>
          <a:p>
            <a:pPr algn="ctr" defTabSz="914377" fontAlgn="auto">
              <a:spcBef>
                <a:spcPts val="0"/>
              </a:spcBef>
              <a:spcAft>
                <a:spcPts val="0"/>
              </a:spcAft>
            </a:pPr>
            <a:r>
              <a:rPr lang="en-GB" sz="1200" kern="0" dirty="0">
                <a:solidFill>
                  <a:sysClr val="windowText" lastClr="000000"/>
                </a:solidFill>
                <a:latin typeface="+mn-lt"/>
                <a:cs typeface="Rockwell"/>
              </a:rPr>
              <a:t>Consideration</a:t>
            </a:r>
          </a:p>
        </p:txBody>
      </p:sp>
      <p:sp>
        <p:nvSpPr>
          <p:cNvPr id="12" name="TextBox 11"/>
          <p:cNvSpPr txBox="1"/>
          <p:nvPr/>
        </p:nvSpPr>
        <p:spPr>
          <a:xfrm>
            <a:off x="5470673" y="5435027"/>
            <a:ext cx="1250662" cy="276999"/>
          </a:xfrm>
          <a:prstGeom prst="rect">
            <a:avLst/>
          </a:prstGeom>
          <a:noFill/>
          <a:effectLst/>
        </p:spPr>
        <p:txBody>
          <a:bodyPr wrap="none" rtlCol="0">
            <a:spAutoFit/>
          </a:bodyPr>
          <a:lstStyle/>
          <a:p>
            <a:pPr algn="ctr" defTabSz="914377" fontAlgn="auto">
              <a:spcBef>
                <a:spcPts val="0"/>
              </a:spcBef>
              <a:spcAft>
                <a:spcPts val="0"/>
              </a:spcAft>
            </a:pPr>
            <a:r>
              <a:rPr lang="en-GB" sz="1200" kern="0" dirty="0">
                <a:solidFill>
                  <a:sysClr val="windowText" lastClr="000000"/>
                </a:solidFill>
                <a:latin typeface="+mn-lt"/>
                <a:cs typeface="Rockwell"/>
              </a:rPr>
              <a:t>Purchase intent</a:t>
            </a:r>
          </a:p>
        </p:txBody>
      </p:sp>
      <p:sp>
        <p:nvSpPr>
          <p:cNvPr id="13" name="TextBox 12"/>
          <p:cNvSpPr txBox="1"/>
          <p:nvPr/>
        </p:nvSpPr>
        <p:spPr>
          <a:xfrm>
            <a:off x="5410560" y="5953567"/>
            <a:ext cx="1370888" cy="461665"/>
          </a:xfrm>
          <a:prstGeom prst="rect">
            <a:avLst/>
          </a:prstGeom>
          <a:noFill/>
          <a:effectLst/>
        </p:spPr>
        <p:txBody>
          <a:bodyPr wrap="none" rtlCol="0">
            <a:spAutoFit/>
          </a:bodyPr>
          <a:lstStyle/>
          <a:p>
            <a:pPr algn="ctr" defTabSz="914377" fontAlgn="auto">
              <a:spcBef>
                <a:spcPts val="0"/>
              </a:spcBef>
              <a:spcAft>
                <a:spcPts val="0"/>
              </a:spcAft>
            </a:pPr>
            <a:r>
              <a:rPr lang="en-GB" sz="1200" kern="0" dirty="0">
                <a:solidFill>
                  <a:sysClr val="windowText" lastClr="000000"/>
                </a:solidFill>
                <a:latin typeface="+mn-lt"/>
                <a:cs typeface="Rockwell"/>
              </a:rPr>
              <a:t>Sales</a:t>
            </a:r>
          </a:p>
          <a:p>
            <a:pPr algn="ctr" defTabSz="914377" fontAlgn="auto">
              <a:spcBef>
                <a:spcPts val="0"/>
              </a:spcBef>
              <a:spcAft>
                <a:spcPts val="0"/>
              </a:spcAft>
            </a:pPr>
            <a:r>
              <a:rPr lang="en-GB" sz="1200" kern="0" dirty="0">
                <a:solidFill>
                  <a:sysClr val="windowText" lastClr="000000"/>
                </a:solidFill>
                <a:latin typeface="+mn-lt"/>
                <a:cs typeface="Rockwell"/>
              </a:rPr>
              <a:t>(or similar metric)</a:t>
            </a:r>
          </a:p>
        </p:txBody>
      </p:sp>
      <p:pic>
        <p:nvPicPr>
          <p:cNvPr id="44" name="Picture 43">
            <a:extLst>
              <a:ext uri="{FF2B5EF4-FFF2-40B4-BE49-F238E27FC236}">
                <a16:creationId xmlns:a16="http://schemas.microsoft.com/office/drawing/2014/main" id="{BA79BE20-2ECA-42B5-97B0-108F4C776411}"/>
              </a:ext>
            </a:extLst>
          </p:cNvPr>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5087" y="6369499"/>
            <a:ext cx="885559" cy="441301"/>
          </a:xfrm>
          <a:prstGeom prst="rect">
            <a:avLst/>
          </a:prstGeom>
        </p:spPr>
      </p:pic>
      <p:sp>
        <p:nvSpPr>
          <p:cNvPr id="46" name="Rectangle 45"/>
          <p:cNvSpPr/>
          <p:nvPr/>
        </p:nvSpPr>
        <p:spPr>
          <a:xfrm>
            <a:off x="1524001" y="2939635"/>
            <a:ext cx="3033835"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47" name="Rectangle 46"/>
          <p:cNvSpPr/>
          <p:nvPr/>
        </p:nvSpPr>
        <p:spPr>
          <a:xfrm>
            <a:off x="1843080" y="3405806"/>
            <a:ext cx="2395675"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48" name="Rectangle 47"/>
          <p:cNvSpPr/>
          <p:nvPr/>
        </p:nvSpPr>
        <p:spPr>
          <a:xfrm>
            <a:off x="2066315" y="3908754"/>
            <a:ext cx="1949204"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49" name="Rectangle 48"/>
          <p:cNvSpPr/>
          <p:nvPr/>
        </p:nvSpPr>
        <p:spPr>
          <a:xfrm>
            <a:off x="2235199" y="4403041"/>
            <a:ext cx="1611436"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0" name="Rectangle 49"/>
          <p:cNvSpPr/>
          <p:nvPr/>
        </p:nvSpPr>
        <p:spPr>
          <a:xfrm>
            <a:off x="2526722" y="4937753"/>
            <a:ext cx="1028391"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1" name="Rectangle 50"/>
          <p:cNvSpPr/>
          <p:nvPr/>
        </p:nvSpPr>
        <p:spPr>
          <a:xfrm>
            <a:off x="2691356" y="5474978"/>
            <a:ext cx="699123"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3" name="Rectangle 52"/>
          <p:cNvSpPr/>
          <p:nvPr/>
        </p:nvSpPr>
        <p:spPr>
          <a:xfrm>
            <a:off x="7484183" y="2939635"/>
            <a:ext cx="3033835" cy="276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4" name="Rectangle 53"/>
          <p:cNvSpPr/>
          <p:nvPr/>
        </p:nvSpPr>
        <p:spPr>
          <a:xfrm>
            <a:off x="7803261" y="3405806"/>
            <a:ext cx="2395675" cy="276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5" name="Rectangle 54"/>
          <p:cNvSpPr/>
          <p:nvPr/>
        </p:nvSpPr>
        <p:spPr>
          <a:xfrm>
            <a:off x="8026498" y="3908754"/>
            <a:ext cx="1949204" cy="276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6" name="Rectangle 55"/>
          <p:cNvSpPr/>
          <p:nvPr/>
        </p:nvSpPr>
        <p:spPr>
          <a:xfrm>
            <a:off x="8195382" y="4403041"/>
            <a:ext cx="1611436" cy="276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7" name="Rectangle 56"/>
          <p:cNvSpPr/>
          <p:nvPr/>
        </p:nvSpPr>
        <p:spPr>
          <a:xfrm>
            <a:off x="8486905" y="4937753"/>
            <a:ext cx="1028391" cy="276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8" name="Rectangle 57"/>
          <p:cNvSpPr/>
          <p:nvPr/>
        </p:nvSpPr>
        <p:spPr>
          <a:xfrm>
            <a:off x="8651537" y="5474978"/>
            <a:ext cx="699123" cy="276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9" name="Down Arrow 58"/>
          <p:cNvSpPr/>
          <p:nvPr/>
        </p:nvSpPr>
        <p:spPr>
          <a:xfrm>
            <a:off x="8857666" y="2763217"/>
            <a:ext cx="286871" cy="3629412"/>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cxnSp>
        <p:nvCxnSpPr>
          <p:cNvPr id="4" name="Straight Arrow Connector 3">
            <a:extLst>
              <a:ext uri="{FF2B5EF4-FFF2-40B4-BE49-F238E27FC236}">
                <a16:creationId xmlns:a16="http://schemas.microsoft.com/office/drawing/2014/main" id="{A67B4558-3670-4BFD-ACD3-4F27DB23A240}"/>
              </a:ext>
            </a:extLst>
          </p:cNvPr>
          <p:cNvCxnSpPr>
            <a:cxnSpLocks/>
          </p:cNvCxnSpPr>
          <p:nvPr/>
        </p:nvCxnSpPr>
        <p:spPr>
          <a:xfrm>
            <a:off x="6913749" y="6355961"/>
            <a:ext cx="1573155" cy="0"/>
          </a:xfrm>
          <a:prstGeom prst="straightConnector1">
            <a:avLst/>
          </a:prstGeom>
          <a:ln w="12700" cmpd="sng">
            <a:solidFill>
              <a:schemeClr val="tx2"/>
            </a:solidFill>
            <a:tailEnd type="triangle"/>
          </a:ln>
        </p:spPr>
        <p:style>
          <a:lnRef idx="1">
            <a:schemeClr val="accent5"/>
          </a:lnRef>
          <a:fillRef idx="0">
            <a:schemeClr val="accent5"/>
          </a:fillRef>
          <a:effectRef idx="0">
            <a:schemeClr val="accent5"/>
          </a:effectRef>
          <a:fontRef idx="minor">
            <a:schemeClr val="tx1"/>
          </a:fontRef>
        </p:style>
      </p:cxnSp>
      <p:sp>
        <p:nvSpPr>
          <p:cNvPr id="32" name="Text Placeholder 73">
            <a:extLst>
              <a:ext uri="{FF2B5EF4-FFF2-40B4-BE49-F238E27FC236}">
                <a16:creationId xmlns:a16="http://schemas.microsoft.com/office/drawing/2014/main" id="{97D78C93-AFD8-497C-809B-EC02445F2529}"/>
              </a:ext>
            </a:extLst>
          </p:cNvPr>
          <p:cNvSpPr txBox="1">
            <a:spLocks/>
          </p:cNvSpPr>
          <p:nvPr/>
        </p:nvSpPr>
        <p:spPr>
          <a:xfrm>
            <a:off x="6183096" y="1182994"/>
            <a:ext cx="5898739" cy="966212"/>
          </a:xfrm>
          <a:prstGeom prst="rect">
            <a:avLst/>
          </a:prstGeom>
          <a:ln>
            <a:noFill/>
          </a:ln>
        </p:spPr>
        <p:txBody>
          <a:bodyPr anchor="t" anchorCtr="0"/>
          <a:lstStyle>
            <a:lvl1pPr marL="0" indent="0" algn="l" defTabSz="457200" rtl="0" eaLnBrk="1" latinLnBrk="0" hangingPunct="1">
              <a:spcBef>
                <a:spcPct val="20000"/>
              </a:spcBef>
              <a:buFont typeface="Arial"/>
              <a:buNone/>
              <a:defRPr sz="1200" b="0" i="0" kern="1200">
                <a:solidFill>
                  <a:schemeClr val="tx1"/>
                </a:solidFill>
                <a:latin typeface="Rockwell"/>
                <a:ea typeface="+mn-ea"/>
                <a:cs typeface="Rockwell"/>
              </a:defRPr>
            </a:lvl1pPr>
            <a:lvl2pPr marL="0" indent="0" algn="l" defTabSz="457200" rtl="0" eaLnBrk="1" latinLnBrk="0" hangingPunct="1">
              <a:spcBef>
                <a:spcPct val="20000"/>
              </a:spcBef>
              <a:buFont typeface="Arial"/>
              <a:buNone/>
              <a:defRPr sz="1200" kern="1200">
                <a:solidFill>
                  <a:schemeClr val="tx1"/>
                </a:solidFill>
                <a:latin typeface="Rockwell"/>
                <a:ea typeface="+mn-ea"/>
                <a:cs typeface="Rockwell"/>
              </a:defRPr>
            </a:lvl2pPr>
            <a:lvl3pPr marL="0" indent="0" algn="l" defTabSz="457200" rtl="0" eaLnBrk="1" latinLnBrk="0" hangingPunct="1">
              <a:spcBef>
                <a:spcPct val="20000"/>
              </a:spcBef>
              <a:buFont typeface="Arial"/>
              <a:buNone/>
              <a:defRPr sz="1200" kern="1200">
                <a:solidFill>
                  <a:schemeClr val="tx1"/>
                </a:solidFill>
                <a:latin typeface="Rockwell"/>
                <a:ea typeface="+mn-ea"/>
                <a:cs typeface="Rockwell"/>
              </a:defRPr>
            </a:lvl3pPr>
            <a:lvl4pPr marL="0" indent="0" algn="l" defTabSz="457200" rtl="0" eaLnBrk="1" latinLnBrk="0" hangingPunct="1">
              <a:spcBef>
                <a:spcPct val="20000"/>
              </a:spcBef>
              <a:buFont typeface="Arial"/>
              <a:buNone/>
              <a:defRPr sz="1200" kern="1200">
                <a:solidFill>
                  <a:schemeClr val="tx1"/>
                </a:solidFill>
                <a:latin typeface="Rockwell"/>
                <a:ea typeface="+mn-ea"/>
                <a:cs typeface="Rockwell"/>
              </a:defRPr>
            </a:lvl4pPr>
            <a:lvl5pPr marL="0" indent="0" algn="l" defTabSz="457200" rtl="0" eaLnBrk="1" latinLnBrk="0" hangingPunct="1">
              <a:spcBef>
                <a:spcPct val="20000"/>
              </a:spcBef>
              <a:buFont typeface="Arial"/>
              <a:buNone/>
              <a:defRPr sz="1200" kern="1200">
                <a:solidFill>
                  <a:schemeClr val="tx1"/>
                </a:solidFill>
                <a:latin typeface="Rockwell"/>
                <a:ea typeface="+mn-ea"/>
                <a:cs typeface="Rockwel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457189" fontAlgn="auto">
              <a:spcAft>
                <a:spcPts val="0"/>
              </a:spcAft>
            </a:pPr>
            <a:r>
              <a:rPr lang="en-GB" dirty="0">
                <a:latin typeface="+mn-lt"/>
              </a:rPr>
              <a:t>Dynamic funnels quantify how each element in the funnel relates to the next, ultimately joining all the metrics across the funnel from </a:t>
            </a:r>
            <a:r>
              <a:rPr lang="en-GB" dirty="0" err="1">
                <a:latin typeface="+mn-lt"/>
              </a:rPr>
              <a:t>comms</a:t>
            </a:r>
            <a:r>
              <a:rPr lang="en-GB" dirty="0">
                <a:latin typeface="+mn-lt"/>
              </a:rPr>
              <a:t> spend through to sales, allowing the funnel to react dynamically when the first metric (spend) is changed.</a:t>
            </a:r>
          </a:p>
        </p:txBody>
      </p:sp>
    </p:spTree>
    <p:extLst>
      <p:ext uri="{BB962C8B-B14F-4D97-AF65-F5344CB8AC3E}">
        <p14:creationId xmlns:p14="http://schemas.microsoft.com/office/powerpoint/2010/main" val="19444669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8B51D5C6-3D84-A24E-810F-99E28F2A9FF7}"/>
              </a:ext>
            </a:extLst>
          </p:cNvPr>
          <p:cNvSpPr>
            <a:spLocks noGrp="1"/>
          </p:cNvSpPr>
          <p:nvPr>
            <p:ph type="pic" sz="quarter" idx="10"/>
          </p:nvPr>
        </p:nvSpPr>
        <p:spPr/>
      </p:sp>
      <p:sp>
        <p:nvSpPr>
          <p:cNvPr id="3" name="Slide Number Placeholder 2">
            <a:extLst>
              <a:ext uri="{FF2B5EF4-FFF2-40B4-BE49-F238E27FC236}">
                <a16:creationId xmlns:a16="http://schemas.microsoft.com/office/drawing/2014/main" id="{24983955-4DCE-EA41-9E22-B9A724008FED}"/>
              </a:ext>
            </a:extLst>
          </p:cNvPr>
          <p:cNvSpPr>
            <a:spLocks noGrp="1"/>
          </p:cNvSpPr>
          <p:nvPr>
            <p:ph type="sldNum" sz="quarter" idx="4"/>
          </p:nvPr>
        </p:nvSpPr>
        <p:spPr/>
        <p:txBody>
          <a:bodyPr/>
          <a:lstStyle/>
          <a:p>
            <a:fld id="{CCC91EE0-52FC-AE4F-BCCE-CF8E45753813}" type="slidenum">
              <a:rPr lang="en-GB" smtClean="0"/>
              <a:pPr/>
              <a:t>6</a:t>
            </a:fld>
            <a:endParaRPr lang="en-GB" dirty="0"/>
          </a:p>
        </p:txBody>
      </p:sp>
      <p:sp>
        <p:nvSpPr>
          <p:cNvPr id="4" name="Footer Placeholder 3">
            <a:extLst>
              <a:ext uri="{FF2B5EF4-FFF2-40B4-BE49-F238E27FC236}">
                <a16:creationId xmlns:a16="http://schemas.microsoft.com/office/drawing/2014/main" id="{CE09C078-5A8E-0E4F-ACF8-BC1739A146DE}"/>
              </a:ext>
            </a:extLst>
          </p:cNvPr>
          <p:cNvSpPr>
            <a:spLocks noGrp="1"/>
          </p:cNvSpPr>
          <p:nvPr>
            <p:ph type="ftr" sz="quarter" idx="14"/>
          </p:nvPr>
        </p:nvSpPr>
        <p:spPr/>
        <p:txBody>
          <a:bodyPr/>
          <a:lstStyle/>
          <a:p>
            <a:endParaRPr lang="en-GB"/>
          </a:p>
        </p:txBody>
      </p:sp>
      <p:sp>
        <p:nvSpPr>
          <p:cNvPr id="7" name="Text Placeholder 6">
            <a:extLst>
              <a:ext uri="{FF2B5EF4-FFF2-40B4-BE49-F238E27FC236}">
                <a16:creationId xmlns:a16="http://schemas.microsoft.com/office/drawing/2014/main" id="{A1E3002D-600A-B445-A396-949C77FAB6C6}"/>
              </a:ext>
            </a:extLst>
          </p:cNvPr>
          <p:cNvSpPr>
            <a:spLocks noGrp="1"/>
          </p:cNvSpPr>
          <p:nvPr>
            <p:ph type="body" sz="quarter" idx="15"/>
          </p:nvPr>
        </p:nvSpPr>
        <p:spPr/>
        <p:txBody>
          <a:bodyPr/>
          <a:lstStyle/>
          <a:p>
            <a:r>
              <a:rPr lang="en-US" dirty="0"/>
              <a:t>Proposed Approach</a:t>
            </a:r>
          </a:p>
        </p:txBody>
      </p:sp>
      <p:sp>
        <p:nvSpPr>
          <p:cNvPr id="6" name="Text Placeholder 5">
            <a:extLst>
              <a:ext uri="{FF2B5EF4-FFF2-40B4-BE49-F238E27FC236}">
                <a16:creationId xmlns:a16="http://schemas.microsoft.com/office/drawing/2014/main" id="{927E30DB-9644-9F4F-ACB7-6F2180A3D2F7}"/>
              </a:ext>
            </a:extLst>
          </p:cNvPr>
          <p:cNvSpPr>
            <a:spLocks noGrp="1"/>
          </p:cNvSpPr>
          <p:nvPr>
            <p:ph type="body" sz="quarter" idx="13"/>
          </p:nvPr>
        </p:nvSpPr>
        <p:spPr/>
        <p:txBody>
          <a:bodyPr/>
          <a:lstStyle/>
          <a:p>
            <a:r>
              <a:rPr lang="en-US" dirty="0"/>
              <a:t>02</a:t>
            </a:r>
          </a:p>
        </p:txBody>
      </p:sp>
      <p:sp>
        <p:nvSpPr>
          <p:cNvPr id="9" name="Text Placeholder 8">
            <a:extLst>
              <a:ext uri="{FF2B5EF4-FFF2-40B4-BE49-F238E27FC236}">
                <a16:creationId xmlns:a16="http://schemas.microsoft.com/office/drawing/2014/main" id="{735799FC-5327-A044-9658-F62540F7C633}"/>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1982532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3" name="Content Placeholder 12"/>
          <p:cNvSpPr>
            <a:spLocks noGrp="1"/>
          </p:cNvSpPr>
          <p:nvPr>
            <p:ph type="body" sz="quarter" idx="13"/>
          </p:nvPr>
        </p:nvSpPr>
        <p:spPr/>
        <p:txBody>
          <a:bodyPr>
            <a:normAutofit/>
          </a:bodyPr>
          <a:lstStyle/>
          <a:p>
            <a:r>
              <a:rPr lang="en-GB" dirty="0"/>
              <a:t>By adopting both approaches we will be able to quantify the strength of the Trustpilot brand along with understanding how this can be increased. The output and benefit of both are summarised as:</a:t>
            </a:r>
          </a:p>
        </p:txBody>
      </p:sp>
      <p:sp>
        <p:nvSpPr>
          <p:cNvPr id="3" name="Title 2"/>
          <p:cNvSpPr>
            <a:spLocks noGrp="1"/>
          </p:cNvSpPr>
          <p:nvPr>
            <p:ph type="title"/>
          </p:nvPr>
        </p:nvSpPr>
        <p:spPr/>
        <p:txBody>
          <a:bodyPr/>
          <a:lstStyle/>
          <a:p>
            <a:r>
              <a:rPr lang="en-GB"/>
              <a:t>We propose both static and dynamic funnels</a:t>
            </a:r>
            <a:endParaRPr lang="en-GB" dirty="0"/>
          </a:p>
        </p:txBody>
      </p:sp>
      <p:sp>
        <p:nvSpPr>
          <p:cNvPr id="75" name="TextBox 74"/>
          <p:cNvSpPr txBox="1"/>
          <p:nvPr/>
        </p:nvSpPr>
        <p:spPr>
          <a:xfrm>
            <a:off x="1527176" y="2343776"/>
            <a:ext cx="4457869" cy="3231654"/>
          </a:xfrm>
          <a:prstGeom prst="rect">
            <a:avLst/>
          </a:prstGeom>
          <a:noFill/>
          <a:effectLst/>
        </p:spPr>
        <p:txBody>
          <a:bodyPr wrap="square" rtlCol="0">
            <a:spAutoFit/>
          </a:bodyPr>
          <a:lstStyle/>
          <a:p>
            <a:pPr defTabSz="914377" fontAlgn="auto">
              <a:spcBef>
                <a:spcPts val="0"/>
              </a:spcBef>
              <a:spcAft>
                <a:spcPts val="0"/>
              </a:spcAft>
            </a:pPr>
            <a:r>
              <a:rPr lang="en-GB" sz="1200" b="1" dirty="0">
                <a:latin typeface="+mn-lt"/>
                <a:cs typeface="Arial" panose="020B0604020202020204" pitchFamily="34" charset="0"/>
              </a:rPr>
              <a:t>STATIC FUNNEL ANALYSIS:</a:t>
            </a:r>
          </a:p>
          <a:p>
            <a:pPr defTabSz="914377" fontAlgn="auto">
              <a:spcBef>
                <a:spcPts val="0"/>
              </a:spcBef>
              <a:spcAft>
                <a:spcPts val="0"/>
              </a:spcAft>
            </a:pPr>
            <a:endParaRPr lang="en-GB" sz="1200" dirty="0">
              <a:latin typeface="+mn-lt"/>
              <a:cs typeface="Arial" panose="020B0604020202020204" pitchFamily="34" charset="0"/>
            </a:endParaRPr>
          </a:p>
          <a:p>
            <a:pPr defTabSz="914377" fontAlgn="auto">
              <a:spcBef>
                <a:spcPts val="0"/>
              </a:spcBef>
              <a:spcAft>
                <a:spcPts val="0"/>
              </a:spcAft>
            </a:pPr>
            <a:r>
              <a:rPr lang="en-GB" sz="1200" dirty="0">
                <a:latin typeface="+mn-lt"/>
                <a:cs typeface="Arial" panose="020B0604020202020204" pitchFamily="34" charset="0"/>
              </a:rPr>
              <a:t>The static funnel looks at the decision funnel and diagnoses the levels across brand measures and recommends actions to improve performance. It’s used to:  </a:t>
            </a:r>
          </a:p>
          <a:p>
            <a:pPr defTabSz="914377" fontAlgn="auto">
              <a:spcBef>
                <a:spcPts val="0"/>
              </a:spcBef>
              <a:spcAft>
                <a:spcPts val="0"/>
              </a:spcAft>
            </a:pPr>
            <a:endParaRPr lang="en-GB" sz="1200" dirty="0">
              <a:latin typeface="+mn-lt"/>
              <a:cs typeface="Arial" panose="020B0604020202020204" pitchFamily="34" charset="0"/>
            </a:endParaRP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Understand which parts of the funnel are most important in a category</a:t>
            </a: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Identify which levels of the funnel we over or under perform on as a brand</a:t>
            </a: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Understand the role of marketing at each part of the funnel- where can we impact?</a:t>
            </a: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Understand your competitors strengths and weakness</a:t>
            </a: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Understand how to use your marketing budget to influence the right parts of the funnel</a:t>
            </a: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Can we looked at, at key points over time to monitor change (e.g. quarterly or half yearly)</a:t>
            </a:r>
          </a:p>
        </p:txBody>
      </p:sp>
      <p:sp>
        <p:nvSpPr>
          <p:cNvPr id="78" name="TextBox 77"/>
          <p:cNvSpPr txBox="1"/>
          <p:nvPr/>
        </p:nvSpPr>
        <p:spPr>
          <a:xfrm>
            <a:off x="6286394" y="2343775"/>
            <a:ext cx="4506135" cy="2677656"/>
          </a:xfrm>
          <a:prstGeom prst="rect">
            <a:avLst/>
          </a:prstGeom>
          <a:noFill/>
          <a:effectLst/>
        </p:spPr>
        <p:txBody>
          <a:bodyPr wrap="square" rtlCol="0">
            <a:spAutoFit/>
          </a:bodyPr>
          <a:lstStyle/>
          <a:p>
            <a:pPr defTabSz="914377" fontAlgn="auto">
              <a:spcBef>
                <a:spcPts val="0"/>
              </a:spcBef>
              <a:spcAft>
                <a:spcPts val="0"/>
              </a:spcAft>
            </a:pPr>
            <a:r>
              <a:rPr lang="en-GB" sz="1200" b="1" dirty="0">
                <a:latin typeface="+mn-lt"/>
                <a:cs typeface="Arial" panose="020B0604020202020204" pitchFamily="34" charset="0"/>
              </a:rPr>
              <a:t>DYNAMIC FUNNEL ANALYSIS:</a:t>
            </a:r>
          </a:p>
          <a:p>
            <a:pPr marL="285744" indent="-285744" defTabSz="914377" fontAlgn="auto">
              <a:spcBef>
                <a:spcPts val="0"/>
              </a:spcBef>
              <a:spcAft>
                <a:spcPts val="0"/>
              </a:spcAft>
              <a:buFont typeface="Arial" panose="020B0604020202020204" pitchFamily="34" charset="0"/>
              <a:buChar char="•"/>
            </a:pPr>
            <a:endParaRPr lang="en-GB" sz="1200" dirty="0">
              <a:latin typeface="+mn-lt"/>
              <a:cs typeface="Arial" panose="020B0604020202020204" pitchFamily="34" charset="0"/>
            </a:endParaRPr>
          </a:p>
          <a:p>
            <a:pPr defTabSz="914377" fontAlgn="auto">
              <a:spcBef>
                <a:spcPts val="0"/>
              </a:spcBef>
              <a:spcAft>
                <a:spcPts val="0"/>
              </a:spcAft>
            </a:pPr>
            <a:r>
              <a:rPr lang="en-GB" sz="1200" dirty="0">
                <a:latin typeface="+mn-lt"/>
                <a:cs typeface="Arial" panose="020B0604020202020204" pitchFamily="34" charset="0"/>
              </a:rPr>
              <a:t>The dynamic funnel takes the analysis a step further to understand how each level of the funnel relates to the next, creating a dynamic relationship. I can help inform:</a:t>
            </a:r>
          </a:p>
          <a:p>
            <a:pPr defTabSz="914377" fontAlgn="auto">
              <a:spcBef>
                <a:spcPts val="0"/>
              </a:spcBef>
              <a:spcAft>
                <a:spcPts val="0"/>
              </a:spcAft>
            </a:pPr>
            <a:endParaRPr lang="en-GB" sz="1200" dirty="0">
              <a:latin typeface="+mn-lt"/>
              <a:cs typeface="Arial" panose="020B0604020202020204" pitchFamily="34" charset="0"/>
            </a:endParaRP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Which levels are more elastic / sensitive than others to communications spend</a:t>
            </a: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How we perform on the conversion relationship between each metric versus the competition</a:t>
            </a: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How communication spend can be used to fill and fatten the funnel</a:t>
            </a: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What level of investment would be required to achieve different sales targets</a:t>
            </a:r>
          </a:p>
        </p:txBody>
      </p:sp>
      <p:pic>
        <p:nvPicPr>
          <p:cNvPr id="9" name="Picture 8">
            <a:extLst>
              <a:ext uri="{FF2B5EF4-FFF2-40B4-BE49-F238E27FC236}">
                <a16:creationId xmlns:a16="http://schemas.microsoft.com/office/drawing/2014/main" id="{BA79BE20-2ECA-42B5-97B0-108F4C776411}"/>
              </a:ext>
            </a:extLst>
          </p:cNvPr>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5087" y="6369499"/>
            <a:ext cx="885559" cy="441301"/>
          </a:xfrm>
          <a:prstGeom prst="rect">
            <a:avLst/>
          </a:prstGeom>
        </p:spPr>
      </p:pic>
      <p:pic>
        <p:nvPicPr>
          <p:cNvPr id="4" name="Picture 3"/>
          <p:cNvPicPr>
            <a:picLocks noChangeAspect="1"/>
          </p:cNvPicPr>
          <p:nvPr/>
        </p:nvPicPr>
        <p:blipFill>
          <a:blip r:embed="rId7"/>
          <a:stretch>
            <a:fillRect/>
          </a:stretch>
        </p:blipFill>
        <p:spPr>
          <a:xfrm>
            <a:off x="275083" y="3389101"/>
            <a:ext cx="1250507" cy="1494079"/>
          </a:xfrm>
          <a:prstGeom prst="rect">
            <a:avLst/>
          </a:prstGeom>
        </p:spPr>
      </p:pic>
      <p:pic>
        <p:nvPicPr>
          <p:cNvPr id="5" name="Picture 4"/>
          <p:cNvPicPr>
            <a:picLocks noChangeAspect="1"/>
          </p:cNvPicPr>
          <p:nvPr/>
        </p:nvPicPr>
        <p:blipFill>
          <a:blip r:embed="rId8"/>
          <a:stretch>
            <a:fillRect/>
          </a:stretch>
        </p:blipFill>
        <p:spPr>
          <a:xfrm>
            <a:off x="10792529" y="3389099"/>
            <a:ext cx="1247995" cy="1494079"/>
          </a:xfrm>
          <a:prstGeom prst="rect">
            <a:avLst/>
          </a:prstGeom>
        </p:spPr>
      </p:pic>
    </p:spTree>
    <p:extLst>
      <p:ext uri="{BB962C8B-B14F-4D97-AF65-F5344CB8AC3E}">
        <p14:creationId xmlns:p14="http://schemas.microsoft.com/office/powerpoint/2010/main" val="38286792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E04E13-5266-48FB-848A-090926715E10}"/>
              </a:ext>
            </a:extLst>
          </p:cNvPr>
          <p:cNvSpPr>
            <a:spLocks noGrp="1"/>
          </p:cNvSpPr>
          <p:nvPr>
            <p:ph type="sldNum" sz="quarter" idx="4"/>
          </p:nvPr>
        </p:nvSpPr>
        <p:spPr/>
        <p:txBody>
          <a:bodyPr/>
          <a:lstStyle/>
          <a:p>
            <a:fld id="{CCC91EE0-52FC-AE4F-BCCE-CF8E45753813}" type="slidenum">
              <a:rPr lang="en-GB" smtClean="0"/>
              <a:pPr/>
              <a:t>8</a:t>
            </a:fld>
            <a:endParaRPr lang="en-GB" dirty="0"/>
          </a:p>
        </p:txBody>
      </p:sp>
      <p:sp>
        <p:nvSpPr>
          <p:cNvPr id="3" name="Footer Placeholder 2">
            <a:extLst>
              <a:ext uri="{FF2B5EF4-FFF2-40B4-BE49-F238E27FC236}">
                <a16:creationId xmlns:a16="http://schemas.microsoft.com/office/drawing/2014/main" id="{E8D80336-90A8-415F-BFD3-E66E87E19DC4}"/>
              </a:ext>
            </a:extLst>
          </p:cNvPr>
          <p:cNvSpPr>
            <a:spLocks noGrp="1"/>
          </p:cNvSpPr>
          <p:nvPr>
            <p:ph type="ftr" sz="quarter" idx="14"/>
          </p:nvPr>
        </p:nvSpPr>
        <p:spPr/>
        <p:txBody>
          <a:bodyPr/>
          <a:lstStyle/>
          <a:p>
            <a:endParaRPr lang="en-GB"/>
          </a:p>
        </p:txBody>
      </p:sp>
      <p:sp>
        <p:nvSpPr>
          <p:cNvPr id="4" name="Title 3">
            <a:extLst>
              <a:ext uri="{FF2B5EF4-FFF2-40B4-BE49-F238E27FC236}">
                <a16:creationId xmlns:a16="http://schemas.microsoft.com/office/drawing/2014/main" id="{232E98F8-E0AB-4184-849E-3D1173BBFE93}"/>
              </a:ext>
            </a:extLst>
          </p:cNvPr>
          <p:cNvSpPr>
            <a:spLocks noGrp="1"/>
          </p:cNvSpPr>
          <p:nvPr>
            <p:ph type="title"/>
          </p:nvPr>
        </p:nvSpPr>
        <p:spPr>
          <a:xfrm>
            <a:off x="334841" y="300381"/>
            <a:ext cx="11522319" cy="707886"/>
          </a:xfrm>
        </p:spPr>
        <p:txBody>
          <a:bodyPr/>
          <a:lstStyle/>
          <a:p>
            <a:r>
              <a:rPr lang="en-GB" dirty="0"/>
              <a:t>A 2 parts project</a:t>
            </a:r>
          </a:p>
        </p:txBody>
      </p:sp>
      <p:sp>
        <p:nvSpPr>
          <p:cNvPr id="5" name="Rectangle 4">
            <a:extLst>
              <a:ext uri="{FF2B5EF4-FFF2-40B4-BE49-F238E27FC236}">
                <a16:creationId xmlns:a16="http://schemas.microsoft.com/office/drawing/2014/main" id="{88E48B36-FBB1-4923-97AC-93D1F4706E41}"/>
              </a:ext>
            </a:extLst>
          </p:cNvPr>
          <p:cNvSpPr/>
          <p:nvPr/>
        </p:nvSpPr>
        <p:spPr>
          <a:xfrm>
            <a:off x="1156329" y="2167465"/>
            <a:ext cx="4363491" cy="3734022"/>
          </a:xfrm>
          <a:prstGeom prst="rect">
            <a:avLst/>
          </a:prstGeom>
          <a:gradFill>
            <a:gsLst>
              <a:gs pos="0">
                <a:schemeClr val="accent3"/>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lgn="ctr" defTabSz="685800" fontAlgn="auto">
              <a:spcBef>
                <a:spcPts val="0"/>
              </a:spcBef>
              <a:spcAft>
                <a:spcPts val="0"/>
              </a:spcAft>
              <a:buFont typeface="Arial" panose="020B0604020202020204" pitchFamily="34" charset="0"/>
              <a:buChar char="•"/>
            </a:pPr>
            <a:r>
              <a:rPr lang="en-GB" sz="1600" kern="0" dirty="0">
                <a:solidFill>
                  <a:schemeClr val="bg1"/>
                </a:solidFill>
              </a:rPr>
              <a:t>Static funnels for Trustpilot</a:t>
            </a:r>
          </a:p>
          <a:p>
            <a:pPr marL="214313" indent="-214313" algn="ctr" defTabSz="685800" fontAlgn="auto">
              <a:spcBef>
                <a:spcPts val="0"/>
              </a:spcBef>
              <a:spcAft>
                <a:spcPts val="0"/>
              </a:spcAft>
              <a:buFont typeface="Arial" panose="020B0604020202020204" pitchFamily="34" charset="0"/>
              <a:buChar char="•"/>
            </a:pPr>
            <a:r>
              <a:rPr lang="en-GB" sz="1600" kern="0" dirty="0">
                <a:solidFill>
                  <a:schemeClr val="bg1"/>
                </a:solidFill>
              </a:rPr>
              <a:t>Static funnels for Key competitors</a:t>
            </a:r>
          </a:p>
          <a:p>
            <a:pPr marL="214313" indent="-214313" algn="ctr" defTabSz="685800" fontAlgn="auto">
              <a:spcBef>
                <a:spcPts val="0"/>
              </a:spcBef>
              <a:spcAft>
                <a:spcPts val="0"/>
              </a:spcAft>
              <a:buFont typeface="Arial" panose="020B0604020202020204" pitchFamily="34" charset="0"/>
              <a:buChar char="•"/>
            </a:pPr>
            <a:r>
              <a:rPr lang="en-GB" sz="1600" kern="0" dirty="0">
                <a:solidFill>
                  <a:schemeClr val="bg1"/>
                </a:solidFill>
              </a:rPr>
              <a:t>Feasibility leading to </a:t>
            </a:r>
            <a:r>
              <a:rPr lang="en-GB" sz="1600" b="1" kern="0" dirty="0">
                <a:solidFill>
                  <a:schemeClr val="bg1"/>
                </a:solidFill>
              </a:rPr>
              <a:t>Go </a:t>
            </a:r>
            <a:r>
              <a:rPr lang="en-GB" sz="1600" kern="0" dirty="0">
                <a:solidFill>
                  <a:schemeClr val="bg1"/>
                </a:solidFill>
              </a:rPr>
              <a:t>/ </a:t>
            </a:r>
            <a:r>
              <a:rPr lang="en-GB" sz="1600" b="1" kern="0" dirty="0">
                <a:solidFill>
                  <a:schemeClr val="bg1"/>
                </a:solidFill>
              </a:rPr>
              <a:t>No Go </a:t>
            </a:r>
            <a:r>
              <a:rPr lang="en-GB" sz="1600" kern="0" dirty="0">
                <a:solidFill>
                  <a:schemeClr val="bg1"/>
                </a:solidFill>
              </a:rPr>
              <a:t>decision on dynamic funnels</a:t>
            </a:r>
          </a:p>
        </p:txBody>
      </p:sp>
      <p:sp>
        <p:nvSpPr>
          <p:cNvPr id="7" name="Rectangle 6">
            <a:extLst>
              <a:ext uri="{FF2B5EF4-FFF2-40B4-BE49-F238E27FC236}">
                <a16:creationId xmlns:a16="http://schemas.microsoft.com/office/drawing/2014/main" id="{CC4ECB60-6D72-48B9-BFA9-F5FE2C2A8F54}"/>
              </a:ext>
            </a:extLst>
          </p:cNvPr>
          <p:cNvSpPr/>
          <p:nvPr/>
        </p:nvSpPr>
        <p:spPr>
          <a:xfrm>
            <a:off x="6591930" y="2167466"/>
            <a:ext cx="4363491" cy="3734021"/>
          </a:xfrm>
          <a:prstGeom prst="rect">
            <a:avLst/>
          </a:prstGeom>
          <a:gradFill>
            <a:gsLst>
              <a:gs pos="0">
                <a:schemeClr val="accent3"/>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lgn="ctr" defTabSz="685800" fontAlgn="auto">
              <a:spcBef>
                <a:spcPts val="0"/>
              </a:spcBef>
              <a:spcAft>
                <a:spcPts val="0"/>
              </a:spcAft>
              <a:buFont typeface="Arial" panose="020B0604020202020204" pitchFamily="34" charset="0"/>
              <a:buChar char="•"/>
            </a:pPr>
            <a:r>
              <a:rPr lang="en-GB" sz="1600" kern="0" dirty="0">
                <a:solidFill>
                  <a:schemeClr val="bg1"/>
                </a:solidFill>
              </a:rPr>
              <a:t>Dynamic funnels linking all elements of the funnel from media spend through the funnel</a:t>
            </a:r>
          </a:p>
          <a:p>
            <a:pPr marL="214313" indent="-214313" algn="ctr" defTabSz="685800" fontAlgn="auto">
              <a:spcBef>
                <a:spcPts val="0"/>
              </a:spcBef>
              <a:spcAft>
                <a:spcPts val="0"/>
              </a:spcAft>
              <a:buFont typeface="Arial" panose="020B0604020202020204" pitchFamily="34" charset="0"/>
              <a:buChar char="•"/>
            </a:pPr>
            <a:r>
              <a:rPr lang="en-GB" sz="1600" kern="0" dirty="0">
                <a:solidFill>
                  <a:schemeClr val="bg1"/>
                </a:solidFill>
              </a:rPr>
              <a:t>Light Scenario planning tool for brand shifts linking to business outcomes</a:t>
            </a:r>
          </a:p>
        </p:txBody>
      </p:sp>
      <p:sp>
        <p:nvSpPr>
          <p:cNvPr id="10" name="Rectangle 9">
            <a:extLst>
              <a:ext uri="{FF2B5EF4-FFF2-40B4-BE49-F238E27FC236}">
                <a16:creationId xmlns:a16="http://schemas.microsoft.com/office/drawing/2014/main" id="{0D0F23C7-F998-4064-A268-BE3CEA343B65}"/>
              </a:ext>
            </a:extLst>
          </p:cNvPr>
          <p:cNvSpPr/>
          <p:nvPr/>
        </p:nvSpPr>
        <p:spPr>
          <a:xfrm>
            <a:off x="1156330" y="1408853"/>
            <a:ext cx="4363491" cy="5215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ea typeface="Oswald Light" charset="0"/>
                <a:cs typeface="Oswald Light" charset="0"/>
              </a:rPr>
              <a:t>Part one</a:t>
            </a:r>
          </a:p>
        </p:txBody>
      </p:sp>
      <p:sp>
        <p:nvSpPr>
          <p:cNvPr id="11" name="Rectangle 10">
            <a:extLst>
              <a:ext uri="{FF2B5EF4-FFF2-40B4-BE49-F238E27FC236}">
                <a16:creationId xmlns:a16="http://schemas.microsoft.com/office/drawing/2014/main" id="{0028E923-DCAF-4C9E-938D-A506F6B59404}"/>
              </a:ext>
            </a:extLst>
          </p:cNvPr>
          <p:cNvSpPr/>
          <p:nvPr/>
        </p:nvSpPr>
        <p:spPr>
          <a:xfrm>
            <a:off x="6591930" y="1408852"/>
            <a:ext cx="4363491" cy="5215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ea typeface="Oswald Light" charset="0"/>
                <a:cs typeface="Oswald Light" charset="0"/>
              </a:rPr>
              <a:t>Part two</a:t>
            </a:r>
          </a:p>
        </p:txBody>
      </p:sp>
    </p:spTree>
    <p:extLst>
      <p:ext uri="{BB962C8B-B14F-4D97-AF65-F5344CB8AC3E}">
        <p14:creationId xmlns:p14="http://schemas.microsoft.com/office/powerpoint/2010/main" val="27274143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person walking on the sidewalk&#10;&#10;Description automatically generated with low confidence">
            <a:extLst>
              <a:ext uri="{FF2B5EF4-FFF2-40B4-BE49-F238E27FC236}">
                <a16:creationId xmlns:a16="http://schemas.microsoft.com/office/drawing/2014/main" id="{4A211792-9EF1-4F9D-91D8-81805C4F57B1}"/>
              </a:ext>
            </a:extLst>
          </p:cNvPr>
          <p:cNvPicPr>
            <a:picLocks noGrp="1" noChangeAspect="1"/>
          </p:cNvPicPr>
          <p:nvPr>
            <p:ph type="pic" sz="quarter" idx="10"/>
          </p:nvPr>
        </p:nvPicPr>
        <p:blipFill>
          <a:blip r:embed="rId2"/>
          <a:srcRect l="34813" r="34813"/>
          <a:stretch>
            <a:fillRect/>
          </a:stretch>
        </p:blipFill>
        <p:spPr/>
      </p:pic>
      <p:sp>
        <p:nvSpPr>
          <p:cNvPr id="3" name="Slide Number Placeholder 2">
            <a:extLst>
              <a:ext uri="{FF2B5EF4-FFF2-40B4-BE49-F238E27FC236}">
                <a16:creationId xmlns:a16="http://schemas.microsoft.com/office/drawing/2014/main" id="{E39F72FE-73F6-4DF4-8E98-D411EE7EF16C}"/>
              </a:ext>
            </a:extLst>
          </p:cNvPr>
          <p:cNvSpPr>
            <a:spLocks noGrp="1"/>
          </p:cNvSpPr>
          <p:nvPr>
            <p:ph type="sldNum" sz="quarter" idx="4"/>
          </p:nvPr>
        </p:nvSpPr>
        <p:spPr/>
        <p:txBody>
          <a:bodyPr/>
          <a:lstStyle/>
          <a:p>
            <a:fld id="{CCC91EE0-52FC-AE4F-BCCE-CF8E45753813}" type="slidenum">
              <a:rPr lang="en-GB" smtClean="0"/>
              <a:pPr/>
              <a:t>9</a:t>
            </a:fld>
            <a:endParaRPr lang="en-GB" dirty="0"/>
          </a:p>
        </p:txBody>
      </p:sp>
      <p:sp>
        <p:nvSpPr>
          <p:cNvPr id="4" name="Footer Placeholder 3">
            <a:extLst>
              <a:ext uri="{FF2B5EF4-FFF2-40B4-BE49-F238E27FC236}">
                <a16:creationId xmlns:a16="http://schemas.microsoft.com/office/drawing/2014/main" id="{134A2252-3630-4819-93FB-A573D7AB8E1E}"/>
              </a:ext>
            </a:extLst>
          </p:cNvPr>
          <p:cNvSpPr>
            <a:spLocks noGrp="1"/>
          </p:cNvSpPr>
          <p:nvPr>
            <p:ph type="ftr" sz="quarter" idx="14"/>
          </p:nvPr>
        </p:nvSpPr>
        <p:spPr/>
        <p:txBody>
          <a:bodyPr/>
          <a:lstStyle/>
          <a:p>
            <a:endParaRPr lang="en-GB"/>
          </a:p>
        </p:txBody>
      </p:sp>
      <p:sp>
        <p:nvSpPr>
          <p:cNvPr id="5" name="Title 4">
            <a:extLst>
              <a:ext uri="{FF2B5EF4-FFF2-40B4-BE49-F238E27FC236}">
                <a16:creationId xmlns:a16="http://schemas.microsoft.com/office/drawing/2014/main" id="{748CCF78-3218-4150-B18D-8E3ECD1CD2F4}"/>
              </a:ext>
            </a:extLst>
          </p:cNvPr>
          <p:cNvSpPr>
            <a:spLocks noGrp="1"/>
          </p:cNvSpPr>
          <p:nvPr>
            <p:ph type="title"/>
          </p:nvPr>
        </p:nvSpPr>
        <p:spPr/>
        <p:txBody>
          <a:bodyPr/>
          <a:lstStyle/>
          <a:p>
            <a:r>
              <a:rPr lang="en-GB" dirty="0"/>
              <a:t>Why do we need 2 parts?</a:t>
            </a:r>
          </a:p>
        </p:txBody>
      </p:sp>
      <p:sp>
        <p:nvSpPr>
          <p:cNvPr id="6" name="Text Placeholder 5">
            <a:extLst>
              <a:ext uri="{FF2B5EF4-FFF2-40B4-BE49-F238E27FC236}">
                <a16:creationId xmlns:a16="http://schemas.microsoft.com/office/drawing/2014/main" id="{A5B1467A-3731-404E-B8CD-C253A9881B4F}"/>
              </a:ext>
            </a:extLst>
          </p:cNvPr>
          <p:cNvSpPr>
            <a:spLocks noGrp="1"/>
          </p:cNvSpPr>
          <p:nvPr>
            <p:ph type="body" sz="quarter" idx="15"/>
          </p:nvPr>
        </p:nvSpPr>
        <p:spPr/>
        <p:txBody>
          <a:bodyPr/>
          <a:lstStyle/>
          <a:p>
            <a:r>
              <a:rPr lang="en-GB" dirty="0"/>
              <a:t>1</a:t>
            </a:r>
          </a:p>
        </p:txBody>
      </p:sp>
      <p:sp>
        <p:nvSpPr>
          <p:cNvPr id="7" name="Text Placeholder 6">
            <a:extLst>
              <a:ext uri="{FF2B5EF4-FFF2-40B4-BE49-F238E27FC236}">
                <a16:creationId xmlns:a16="http://schemas.microsoft.com/office/drawing/2014/main" id="{411C8E94-CAF0-43C9-81E4-8E4FC4A09EEE}"/>
              </a:ext>
            </a:extLst>
          </p:cNvPr>
          <p:cNvSpPr>
            <a:spLocks noGrp="1"/>
          </p:cNvSpPr>
          <p:nvPr>
            <p:ph type="body" sz="quarter" idx="16"/>
          </p:nvPr>
        </p:nvSpPr>
        <p:spPr/>
        <p:txBody>
          <a:bodyPr/>
          <a:lstStyle/>
          <a:p>
            <a:r>
              <a:rPr lang="en-GB" dirty="0"/>
              <a:t>2</a:t>
            </a:r>
          </a:p>
        </p:txBody>
      </p:sp>
      <p:sp>
        <p:nvSpPr>
          <p:cNvPr id="8" name="Text Placeholder 7">
            <a:extLst>
              <a:ext uri="{FF2B5EF4-FFF2-40B4-BE49-F238E27FC236}">
                <a16:creationId xmlns:a16="http://schemas.microsoft.com/office/drawing/2014/main" id="{9771FCFE-D0B8-42B2-845E-C7A85638179A}"/>
              </a:ext>
            </a:extLst>
          </p:cNvPr>
          <p:cNvSpPr>
            <a:spLocks noGrp="1"/>
          </p:cNvSpPr>
          <p:nvPr>
            <p:ph type="body" sz="quarter" idx="17"/>
          </p:nvPr>
        </p:nvSpPr>
        <p:spPr/>
        <p:txBody>
          <a:bodyPr/>
          <a:lstStyle/>
          <a:p>
            <a:r>
              <a:rPr lang="en-GB" dirty="0"/>
              <a:t>3</a:t>
            </a:r>
          </a:p>
        </p:txBody>
      </p:sp>
      <p:sp>
        <p:nvSpPr>
          <p:cNvPr id="9" name="Text Placeholder 8">
            <a:extLst>
              <a:ext uri="{FF2B5EF4-FFF2-40B4-BE49-F238E27FC236}">
                <a16:creationId xmlns:a16="http://schemas.microsoft.com/office/drawing/2014/main" id="{FF88DCF5-69DE-4AA5-AC5C-7FC88E34BF78}"/>
              </a:ext>
            </a:extLst>
          </p:cNvPr>
          <p:cNvSpPr>
            <a:spLocks noGrp="1"/>
          </p:cNvSpPr>
          <p:nvPr>
            <p:ph type="body" sz="quarter" idx="18"/>
          </p:nvPr>
        </p:nvSpPr>
        <p:spPr/>
        <p:txBody>
          <a:bodyPr/>
          <a:lstStyle/>
          <a:p>
            <a:r>
              <a:rPr lang="en-GB" dirty="0"/>
              <a:t>This type of analysis usually requires 2 years of monthly or quarterly data, as most key brand metrics such as consideration move slowly</a:t>
            </a:r>
          </a:p>
        </p:txBody>
      </p:sp>
      <p:sp>
        <p:nvSpPr>
          <p:cNvPr id="10" name="Text Placeholder 9">
            <a:extLst>
              <a:ext uri="{FF2B5EF4-FFF2-40B4-BE49-F238E27FC236}">
                <a16:creationId xmlns:a16="http://schemas.microsoft.com/office/drawing/2014/main" id="{C647F789-0BE8-439A-A411-FB4FA82C8D1A}"/>
              </a:ext>
            </a:extLst>
          </p:cNvPr>
          <p:cNvSpPr>
            <a:spLocks noGrp="1"/>
          </p:cNvSpPr>
          <p:nvPr>
            <p:ph type="body" sz="quarter" idx="19"/>
          </p:nvPr>
        </p:nvSpPr>
        <p:spPr/>
        <p:txBody>
          <a:bodyPr/>
          <a:lstStyle/>
          <a:p>
            <a:r>
              <a:rPr lang="en-GB" dirty="0"/>
              <a:t>We will only have seen the impact of 1 brand campaign</a:t>
            </a:r>
          </a:p>
        </p:txBody>
      </p:sp>
      <p:sp>
        <p:nvSpPr>
          <p:cNvPr id="11" name="Text Placeholder 10">
            <a:extLst>
              <a:ext uri="{FF2B5EF4-FFF2-40B4-BE49-F238E27FC236}">
                <a16:creationId xmlns:a16="http://schemas.microsoft.com/office/drawing/2014/main" id="{D232C03D-E707-4838-A0D3-54113F283639}"/>
              </a:ext>
            </a:extLst>
          </p:cNvPr>
          <p:cNvSpPr>
            <a:spLocks noGrp="1"/>
          </p:cNvSpPr>
          <p:nvPr>
            <p:ph type="body" sz="quarter" idx="20"/>
          </p:nvPr>
        </p:nvSpPr>
        <p:spPr/>
        <p:txBody>
          <a:bodyPr/>
          <a:lstStyle/>
          <a:p>
            <a:r>
              <a:rPr lang="en-GB" dirty="0"/>
              <a:t>This stage of the process will tell us if we can build dynamic funnels for Trustpilot: are there clear relationships?</a:t>
            </a:r>
          </a:p>
        </p:txBody>
      </p:sp>
      <p:sp>
        <p:nvSpPr>
          <p:cNvPr id="12" name="Text Placeholder 11">
            <a:extLst>
              <a:ext uri="{FF2B5EF4-FFF2-40B4-BE49-F238E27FC236}">
                <a16:creationId xmlns:a16="http://schemas.microsoft.com/office/drawing/2014/main" id="{A13157B4-AB0A-45A9-A140-04796B2563B3}"/>
              </a:ext>
            </a:extLst>
          </p:cNvPr>
          <p:cNvSpPr>
            <a:spLocks noGrp="1"/>
          </p:cNvSpPr>
          <p:nvPr>
            <p:ph type="body" sz="quarter" idx="21"/>
          </p:nvPr>
        </p:nvSpPr>
        <p:spPr>
          <a:solidFill>
            <a:schemeClr val="accent1"/>
          </a:solidFill>
        </p:spPr>
        <p:txBody>
          <a:bodyPr/>
          <a:lstStyle/>
          <a:p>
            <a:r>
              <a:rPr lang="en-GB" dirty="0"/>
              <a:t>4</a:t>
            </a:r>
          </a:p>
        </p:txBody>
      </p:sp>
      <p:sp>
        <p:nvSpPr>
          <p:cNvPr id="13" name="Text Placeholder 12">
            <a:extLst>
              <a:ext uri="{FF2B5EF4-FFF2-40B4-BE49-F238E27FC236}">
                <a16:creationId xmlns:a16="http://schemas.microsoft.com/office/drawing/2014/main" id="{A5A3E635-CAE1-4B09-8F4B-C6AB97ED9F37}"/>
              </a:ext>
            </a:extLst>
          </p:cNvPr>
          <p:cNvSpPr>
            <a:spLocks noGrp="1"/>
          </p:cNvSpPr>
          <p:nvPr>
            <p:ph type="body" sz="quarter" idx="22"/>
          </p:nvPr>
        </p:nvSpPr>
        <p:spPr/>
        <p:txBody>
          <a:bodyPr>
            <a:normAutofit lnSpcReduction="10000"/>
          </a:bodyPr>
          <a:lstStyle/>
          <a:p>
            <a:r>
              <a:rPr lang="en-GB" dirty="0"/>
              <a:t>If we can’t go ahead we will only provide you with static funnels, which can still help us identify strengths and weaknesses vs the category/ competition, but not the level of investment required to shift/ meet a target on any brand metrics</a:t>
            </a:r>
          </a:p>
        </p:txBody>
      </p:sp>
      <p:sp>
        <p:nvSpPr>
          <p:cNvPr id="16" name="Text Placeholder 5">
            <a:extLst>
              <a:ext uri="{FF2B5EF4-FFF2-40B4-BE49-F238E27FC236}">
                <a16:creationId xmlns:a16="http://schemas.microsoft.com/office/drawing/2014/main" id="{DD086B6D-7E3F-46F3-9908-2C12E6891634}"/>
              </a:ext>
            </a:extLst>
          </p:cNvPr>
          <p:cNvSpPr txBox="1">
            <a:spLocks/>
          </p:cNvSpPr>
          <p:nvPr/>
        </p:nvSpPr>
        <p:spPr>
          <a:xfrm>
            <a:off x="2613025" y="1618552"/>
            <a:ext cx="1001713" cy="1001712"/>
          </a:xfrm>
          <a:prstGeom prst="rect">
            <a:avLst/>
          </a:prstGeom>
          <a:solidFill>
            <a:schemeClr val="accent1"/>
          </a:solidFill>
          <a:ln w="19050">
            <a:solidFill>
              <a:schemeClr val="bg1"/>
            </a:solidFill>
          </a:ln>
        </p:spPr>
        <p:txBody>
          <a:bodyPr vert="horz" lIns="91440" tIns="45720" rIns="91440" bIns="45720" rtlCol="0" anchor="ctr">
            <a:noAutofit/>
          </a:bodyPr>
          <a:lstStyle>
            <a:lvl1pPr marL="0" indent="0" algn="ctr" defTabSz="609585" rtl="0" eaLnBrk="1" fontAlgn="base" latinLnBrk="0" hangingPunct="1">
              <a:lnSpc>
                <a:spcPct val="113000"/>
              </a:lnSpc>
              <a:spcBef>
                <a:spcPct val="0"/>
              </a:spcBef>
              <a:spcAft>
                <a:spcPct val="0"/>
              </a:spcAft>
              <a:buFont typeface="Arial"/>
              <a:buNone/>
              <a:defRPr lang="en-US" sz="3600" b="0" i="0" kern="1200" dirty="0" smtClean="0">
                <a:solidFill>
                  <a:schemeClr val="bg1"/>
                </a:solidFill>
                <a:latin typeface="Oswald Light" pitchFamily="2" charset="77"/>
                <a:ea typeface="Oswald Light" charset="0"/>
                <a:cs typeface="Oswald Light" charset="0"/>
              </a:defRPr>
            </a:lvl1pPr>
            <a:lvl2pPr marL="6351" indent="0" algn="ctr" defTabSz="609585" rtl="0" eaLnBrk="1" fontAlgn="base" latinLnBrk="0" hangingPunct="1">
              <a:lnSpc>
                <a:spcPct val="90000"/>
              </a:lnSpc>
              <a:spcBef>
                <a:spcPct val="0"/>
              </a:spcBef>
              <a:spcAft>
                <a:spcPct val="0"/>
              </a:spcAft>
              <a:buFont typeface="Arial"/>
              <a:buNone/>
              <a:tabLst/>
              <a:defRPr lang="en-US" sz="3600" b="1" i="0" kern="1200" dirty="0" smtClean="0">
                <a:solidFill>
                  <a:schemeClr val="bg1"/>
                </a:solidFill>
                <a:latin typeface="Oswald Light" pitchFamily="2" charset="77"/>
                <a:ea typeface="Oswald Light" charset="0"/>
                <a:cs typeface="Oswald Light" charset="0"/>
              </a:defRPr>
            </a:lvl2pPr>
            <a:lvl3pPr marL="6351" indent="0" algn="ctr" defTabSz="609585" rtl="0" eaLnBrk="1" fontAlgn="base" latinLnBrk="0" hangingPunct="1">
              <a:lnSpc>
                <a:spcPct val="90000"/>
              </a:lnSpc>
              <a:spcBef>
                <a:spcPct val="0"/>
              </a:spcBef>
              <a:spcAft>
                <a:spcPct val="0"/>
              </a:spcAft>
              <a:buFont typeface="Arial"/>
              <a:buNone/>
              <a:tabLst/>
              <a:defRPr lang="en-US" sz="3600" kern="1200" dirty="0" smtClean="0">
                <a:solidFill>
                  <a:schemeClr val="bg1"/>
                </a:solidFill>
                <a:latin typeface="Oswald Light" pitchFamily="2" charset="77"/>
                <a:ea typeface="Oswald Light" charset="0"/>
                <a:cs typeface="Oswald Light" charset="0"/>
              </a:defRPr>
            </a:lvl3pPr>
            <a:lvl4pPr marL="239178" indent="-232828" algn="ctr" defTabSz="609585" rtl="0" eaLnBrk="1" fontAlgn="base" latinLnBrk="0" hangingPunct="1">
              <a:lnSpc>
                <a:spcPct val="90000"/>
              </a:lnSpc>
              <a:spcBef>
                <a:spcPct val="0"/>
              </a:spcBef>
              <a:spcAft>
                <a:spcPct val="0"/>
              </a:spcAft>
              <a:buFont typeface="Arial" charset="0"/>
              <a:buChar char="•"/>
              <a:tabLst/>
              <a:defRPr lang="en-US" sz="3600" b="0" i="0" kern="1200" dirty="0" smtClean="0">
                <a:solidFill>
                  <a:schemeClr val="bg1"/>
                </a:solidFill>
                <a:latin typeface="Oswald Light" pitchFamily="2" charset="77"/>
                <a:ea typeface="Oswald Light" charset="0"/>
                <a:cs typeface="Oswald Light" charset="0"/>
              </a:defRPr>
            </a:lvl4pPr>
            <a:lvl5pPr marL="474121" indent="-234945" algn="ctr" defTabSz="609585" rtl="0" eaLnBrk="1" fontAlgn="base" latinLnBrk="0" hangingPunct="1">
              <a:lnSpc>
                <a:spcPct val="90000"/>
              </a:lnSpc>
              <a:spcBef>
                <a:spcPct val="0"/>
              </a:spcBef>
              <a:spcAft>
                <a:spcPct val="0"/>
              </a:spcAft>
              <a:buFont typeface="Arial"/>
              <a:buChar char="•"/>
              <a:tabLst/>
              <a:defRPr lang="en-US" sz="3600" b="0" i="0" kern="1200" dirty="0">
                <a:solidFill>
                  <a:schemeClr val="bg1"/>
                </a:solidFill>
                <a:latin typeface="Oswald Light" pitchFamily="2" charset="77"/>
                <a:ea typeface="Oswald Light" charset="0"/>
                <a:cs typeface="Oswald Light" charset="0"/>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a:lstStyle>
          <a:p>
            <a:r>
              <a:rPr lang="en-GB"/>
              <a:t>1</a:t>
            </a:r>
          </a:p>
        </p:txBody>
      </p:sp>
      <p:sp>
        <p:nvSpPr>
          <p:cNvPr id="17" name="Text Placeholder 6">
            <a:extLst>
              <a:ext uri="{FF2B5EF4-FFF2-40B4-BE49-F238E27FC236}">
                <a16:creationId xmlns:a16="http://schemas.microsoft.com/office/drawing/2014/main" id="{6D37A2C8-A3EA-4E0E-81D3-32552826285F}"/>
              </a:ext>
            </a:extLst>
          </p:cNvPr>
          <p:cNvSpPr txBox="1">
            <a:spLocks/>
          </p:cNvSpPr>
          <p:nvPr/>
        </p:nvSpPr>
        <p:spPr>
          <a:xfrm>
            <a:off x="2613025" y="2830772"/>
            <a:ext cx="1001713" cy="1001712"/>
          </a:xfrm>
          <a:prstGeom prst="rect">
            <a:avLst/>
          </a:prstGeom>
          <a:solidFill>
            <a:schemeClr val="accent1"/>
          </a:solidFill>
          <a:ln w="19050">
            <a:solidFill>
              <a:schemeClr val="bg1"/>
            </a:solidFill>
          </a:ln>
        </p:spPr>
        <p:txBody>
          <a:bodyPr vert="horz" lIns="91440" tIns="45720" rIns="91440" bIns="45720" rtlCol="0" anchor="ctr">
            <a:noAutofit/>
          </a:bodyPr>
          <a:lstStyle>
            <a:lvl1pPr marL="0" indent="0" algn="ctr" defTabSz="609585" rtl="0" eaLnBrk="1" fontAlgn="base" latinLnBrk="0" hangingPunct="1">
              <a:lnSpc>
                <a:spcPct val="113000"/>
              </a:lnSpc>
              <a:spcBef>
                <a:spcPct val="0"/>
              </a:spcBef>
              <a:spcAft>
                <a:spcPct val="0"/>
              </a:spcAft>
              <a:buFont typeface="Arial"/>
              <a:buNone/>
              <a:defRPr lang="en-US" sz="3600" b="0" i="0" kern="1200" dirty="0" smtClean="0">
                <a:solidFill>
                  <a:schemeClr val="bg1"/>
                </a:solidFill>
                <a:latin typeface="Oswald Light" pitchFamily="2" charset="77"/>
                <a:ea typeface="Oswald Light" charset="0"/>
                <a:cs typeface="Oswald Light" charset="0"/>
              </a:defRPr>
            </a:lvl1pPr>
            <a:lvl2pPr marL="6351" indent="0" algn="ctr" defTabSz="609585" rtl="0" eaLnBrk="1" fontAlgn="base" latinLnBrk="0" hangingPunct="1">
              <a:lnSpc>
                <a:spcPct val="90000"/>
              </a:lnSpc>
              <a:spcBef>
                <a:spcPct val="0"/>
              </a:spcBef>
              <a:spcAft>
                <a:spcPct val="0"/>
              </a:spcAft>
              <a:buFont typeface="Arial"/>
              <a:buNone/>
              <a:tabLst/>
              <a:defRPr lang="en-US" sz="3600" b="1" i="0" kern="1200" dirty="0" smtClean="0">
                <a:solidFill>
                  <a:schemeClr val="bg1"/>
                </a:solidFill>
                <a:latin typeface="Oswald Light" pitchFamily="2" charset="77"/>
                <a:ea typeface="Oswald Light" charset="0"/>
                <a:cs typeface="Oswald Light" charset="0"/>
              </a:defRPr>
            </a:lvl2pPr>
            <a:lvl3pPr marL="6351" indent="0" algn="ctr" defTabSz="609585" rtl="0" eaLnBrk="1" fontAlgn="base" latinLnBrk="0" hangingPunct="1">
              <a:lnSpc>
                <a:spcPct val="90000"/>
              </a:lnSpc>
              <a:spcBef>
                <a:spcPct val="0"/>
              </a:spcBef>
              <a:spcAft>
                <a:spcPct val="0"/>
              </a:spcAft>
              <a:buFont typeface="Arial"/>
              <a:buNone/>
              <a:tabLst/>
              <a:defRPr lang="en-US" sz="3600" kern="1200" dirty="0" smtClean="0">
                <a:solidFill>
                  <a:schemeClr val="bg1"/>
                </a:solidFill>
                <a:latin typeface="Oswald Light" pitchFamily="2" charset="77"/>
                <a:ea typeface="Oswald Light" charset="0"/>
                <a:cs typeface="Oswald Light" charset="0"/>
              </a:defRPr>
            </a:lvl3pPr>
            <a:lvl4pPr marL="239178" indent="-232828" algn="ctr" defTabSz="609585" rtl="0" eaLnBrk="1" fontAlgn="base" latinLnBrk="0" hangingPunct="1">
              <a:lnSpc>
                <a:spcPct val="90000"/>
              </a:lnSpc>
              <a:spcBef>
                <a:spcPct val="0"/>
              </a:spcBef>
              <a:spcAft>
                <a:spcPct val="0"/>
              </a:spcAft>
              <a:buFont typeface="Arial" charset="0"/>
              <a:buChar char="•"/>
              <a:tabLst/>
              <a:defRPr lang="en-US" sz="3600" b="0" i="0" kern="1200" dirty="0" smtClean="0">
                <a:solidFill>
                  <a:schemeClr val="bg1"/>
                </a:solidFill>
                <a:latin typeface="Oswald Light" pitchFamily="2" charset="77"/>
                <a:ea typeface="Oswald Light" charset="0"/>
                <a:cs typeface="Oswald Light" charset="0"/>
              </a:defRPr>
            </a:lvl4pPr>
            <a:lvl5pPr marL="474121" indent="-234945" algn="ctr" defTabSz="609585" rtl="0" eaLnBrk="1" fontAlgn="base" latinLnBrk="0" hangingPunct="1">
              <a:lnSpc>
                <a:spcPct val="90000"/>
              </a:lnSpc>
              <a:spcBef>
                <a:spcPct val="0"/>
              </a:spcBef>
              <a:spcAft>
                <a:spcPct val="0"/>
              </a:spcAft>
              <a:buFont typeface="Arial"/>
              <a:buChar char="•"/>
              <a:tabLst/>
              <a:defRPr lang="en-US" sz="3600" b="0" i="0" kern="1200" dirty="0">
                <a:solidFill>
                  <a:schemeClr val="bg1"/>
                </a:solidFill>
                <a:latin typeface="Oswald Light" pitchFamily="2" charset="77"/>
                <a:ea typeface="Oswald Light" charset="0"/>
                <a:cs typeface="Oswald Light" charset="0"/>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a:lstStyle>
          <a:p>
            <a:r>
              <a:rPr lang="en-GB"/>
              <a:t>2</a:t>
            </a:r>
          </a:p>
        </p:txBody>
      </p:sp>
      <p:sp>
        <p:nvSpPr>
          <p:cNvPr id="18" name="Text Placeholder 7">
            <a:extLst>
              <a:ext uri="{FF2B5EF4-FFF2-40B4-BE49-F238E27FC236}">
                <a16:creationId xmlns:a16="http://schemas.microsoft.com/office/drawing/2014/main" id="{95F0AE77-F687-444A-9C08-39FFB18819FE}"/>
              </a:ext>
            </a:extLst>
          </p:cNvPr>
          <p:cNvSpPr txBox="1">
            <a:spLocks/>
          </p:cNvSpPr>
          <p:nvPr/>
        </p:nvSpPr>
        <p:spPr>
          <a:xfrm>
            <a:off x="2613025" y="4042992"/>
            <a:ext cx="1001713" cy="1001712"/>
          </a:xfrm>
          <a:prstGeom prst="rect">
            <a:avLst/>
          </a:prstGeom>
          <a:solidFill>
            <a:schemeClr val="accent1"/>
          </a:solidFill>
          <a:ln w="19050">
            <a:solidFill>
              <a:schemeClr val="bg1"/>
            </a:solidFill>
          </a:ln>
        </p:spPr>
        <p:txBody>
          <a:bodyPr vert="horz" lIns="91440" tIns="45720" rIns="91440" bIns="45720" rtlCol="0" anchor="ctr">
            <a:noAutofit/>
          </a:bodyPr>
          <a:lstStyle>
            <a:lvl1pPr marL="0" indent="0" algn="ctr" defTabSz="609585" rtl="0" eaLnBrk="1" fontAlgn="base" latinLnBrk="0" hangingPunct="1">
              <a:lnSpc>
                <a:spcPct val="113000"/>
              </a:lnSpc>
              <a:spcBef>
                <a:spcPct val="0"/>
              </a:spcBef>
              <a:spcAft>
                <a:spcPct val="0"/>
              </a:spcAft>
              <a:buFont typeface="Arial"/>
              <a:buNone/>
              <a:defRPr lang="en-US" sz="3600" b="0" i="0" kern="1200" dirty="0" smtClean="0">
                <a:solidFill>
                  <a:schemeClr val="bg1"/>
                </a:solidFill>
                <a:latin typeface="Oswald Light" pitchFamily="2" charset="77"/>
                <a:ea typeface="Oswald Light" charset="0"/>
                <a:cs typeface="Oswald Light" charset="0"/>
              </a:defRPr>
            </a:lvl1pPr>
            <a:lvl2pPr marL="6351" indent="0" algn="ctr" defTabSz="609585" rtl="0" eaLnBrk="1" fontAlgn="base" latinLnBrk="0" hangingPunct="1">
              <a:lnSpc>
                <a:spcPct val="90000"/>
              </a:lnSpc>
              <a:spcBef>
                <a:spcPct val="0"/>
              </a:spcBef>
              <a:spcAft>
                <a:spcPct val="0"/>
              </a:spcAft>
              <a:buFont typeface="Arial"/>
              <a:buNone/>
              <a:tabLst/>
              <a:defRPr lang="en-US" sz="3600" b="1" i="0" kern="1200" dirty="0" smtClean="0">
                <a:solidFill>
                  <a:schemeClr val="bg1"/>
                </a:solidFill>
                <a:latin typeface="Oswald Light" pitchFamily="2" charset="77"/>
                <a:ea typeface="Oswald Light" charset="0"/>
                <a:cs typeface="Oswald Light" charset="0"/>
              </a:defRPr>
            </a:lvl2pPr>
            <a:lvl3pPr marL="6351" indent="0" algn="ctr" defTabSz="609585" rtl="0" eaLnBrk="1" fontAlgn="base" latinLnBrk="0" hangingPunct="1">
              <a:lnSpc>
                <a:spcPct val="90000"/>
              </a:lnSpc>
              <a:spcBef>
                <a:spcPct val="0"/>
              </a:spcBef>
              <a:spcAft>
                <a:spcPct val="0"/>
              </a:spcAft>
              <a:buFont typeface="Arial"/>
              <a:buNone/>
              <a:tabLst/>
              <a:defRPr lang="en-US" sz="3600" kern="1200" dirty="0" smtClean="0">
                <a:solidFill>
                  <a:schemeClr val="bg1"/>
                </a:solidFill>
                <a:latin typeface="Oswald Light" pitchFamily="2" charset="77"/>
                <a:ea typeface="Oswald Light" charset="0"/>
                <a:cs typeface="Oswald Light" charset="0"/>
              </a:defRPr>
            </a:lvl3pPr>
            <a:lvl4pPr marL="239178" indent="-232828" algn="ctr" defTabSz="609585" rtl="0" eaLnBrk="1" fontAlgn="base" latinLnBrk="0" hangingPunct="1">
              <a:lnSpc>
                <a:spcPct val="90000"/>
              </a:lnSpc>
              <a:spcBef>
                <a:spcPct val="0"/>
              </a:spcBef>
              <a:spcAft>
                <a:spcPct val="0"/>
              </a:spcAft>
              <a:buFont typeface="Arial" charset="0"/>
              <a:buChar char="•"/>
              <a:tabLst/>
              <a:defRPr lang="en-US" sz="3600" b="0" i="0" kern="1200" dirty="0" smtClean="0">
                <a:solidFill>
                  <a:schemeClr val="bg1"/>
                </a:solidFill>
                <a:latin typeface="Oswald Light" pitchFamily="2" charset="77"/>
                <a:ea typeface="Oswald Light" charset="0"/>
                <a:cs typeface="Oswald Light" charset="0"/>
              </a:defRPr>
            </a:lvl4pPr>
            <a:lvl5pPr marL="474121" indent="-234945" algn="ctr" defTabSz="609585" rtl="0" eaLnBrk="1" fontAlgn="base" latinLnBrk="0" hangingPunct="1">
              <a:lnSpc>
                <a:spcPct val="90000"/>
              </a:lnSpc>
              <a:spcBef>
                <a:spcPct val="0"/>
              </a:spcBef>
              <a:spcAft>
                <a:spcPct val="0"/>
              </a:spcAft>
              <a:buFont typeface="Arial"/>
              <a:buChar char="•"/>
              <a:tabLst/>
              <a:defRPr lang="en-US" sz="3600" b="0" i="0" kern="1200" dirty="0">
                <a:solidFill>
                  <a:schemeClr val="bg1"/>
                </a:solidFill>
                <a:latin typeface="Oswald Light" pitchFamily="2" charset="77"/>
                <a:ea typeface="Oswald Light" charset="0"/>
                <a:cs typeface="Oswald Light" charset="0"/>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a:lstStyle>
          <a:p>
            <a:r>
              <a:rPr lang="en-GB"/>
              <a:t>3</a:t>
            </a:r>
          </a:p>
        </p:txBody>
      </p:sp>
    </p:spTree>
    <p:extLst>
      <p:ext uri="{BB962C8B-B14F-4D97-AF65-F5344CB8AC3E}">
        <p14:creationId xmlns:p14="http://schemas.microsoft.com/office/powerpoint/2010/main" val="41840957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G OMD Template - Oct 2018">
  <a:themeElements>
    <a:clrScheme name="MG OMD - Jan 2019">
      <a:dk1>
        <a:srgbClr val="535353"/>
      </a:dk1>
      <a:lt1>
        <a:srgbClr val="FFFFFF"/>
      </a:lt1>
      <a:dk2>
        <a:srgbClr val="2E5BA6"/>
      </a:dk2>
      <a:lt2>
        <a:srgbClr val="00D2CC"/>
      </a:lt2>
      <a:accent1>
        <a:srgbClr val="FFB32C"/>
      </a:accent1>
      <a:accent2>
        <a:srgbClr val="2F2F63"/>
      </a:accent2>
      <a:accent3>
        <a:srgbClr val="FE005E"/>
      </a:accent3>
      <a:accent4>
        <a:srgbClr val="959595"/>
      </a:accent4>
      <a:accent5>
        <a:srgbClr val="B3B3B3"/>
      </a:accent5>
      <a:accent6>
        <a:srgbClr val="DBDBDB"/>
      </a:accent6>
      <a:hlink>
        <a:srgbClr val="535353"/>
      </a:hlink>
      <a:folHlink>
        <a:srgbClr val="646464"/>
      </a:folHlink>
    </a:clrScheme>
    <a:fontScheme name="Custom 12">
      <a:majorFont>
        <a:latin typeface="Oswald Light"/>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sz="1600" dirty="0" err="1" smtClean="0">
            <a:solidFill>
              <a:schemeClr val="bg1"/>
            </a:solidFill>
            <a:ea typeface="Oswald Light" charset="0"/>
            <a:cs typeface="Oswald Light"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53535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2000" dirty="0" smtClean="0">
            <a:solidFill>
              <a:srgbClr val="535353"/>
            </a:solidFill>
            <a:latin typeface="+mn-lt"/>
            <a:ea typeface="Oswald Light" charset="0"/>
            <a:cs typeface="Oswald Light" charset="0"/>
          </a:defRPr>
        </a:defPPr>
      </a:lstStyle>
    </a:txDef>
  </a:objectDefaults>
  <a:extraClrSchemeLst/>
  <a:extLst>
    <a:ext uri="{05A4C25C-085E-4340-85A3-A5531E510DB2}">
      <thm15:themeFamily xmlns:thm15="http://schemas.microsoft.com/office/thememl/2012/main" name="G - 00255 - MG OMD PPT Template 2020_Basic" id="{3D67FC91-F8DF-F94C-947D-C2766709CA09}" vid="{F15BA824-0B8A-1E4D-A719-4522106EE24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facbd53a-28c0-48d4-b28c-fcfb152d4a3f" xsi:nil="true"/>
    <lcf76f155ced4ddcb4097134ff3c332f xmlns="e08734c1-1c48-445b-9442-0806596e1c33">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B7AC0F0FDC4A84AAC39DFFE36CBC947" ma:contentTypeVersion="16" ma:contentTypeDescription="Create a new document." ma:contentTypeScope="" ma:versionID="cc9db5ae381ffedb8f14dbe25651636a">
  <xsd:schema xmlns:xsd="http://www.w3.org/2001/XMLSchema" xmlns:xs="http://www.w3.org/2001/XMLSchema" xmlns:p="http://schemas.microsoft.com/office/2006/metadata/properties" xmlns:ns2="e08734c1-1c48-445b-9442-0806596e1c33" xmlns:ns3="facbd53a-28c0-48d4-b28c-fcfb152d4a3f" targetNamespace="http://schemas.microsoft.com/office/2006/metadata/properties" ma:root="true" ma:fieldsID="99172d7f919f921d9ff6dbadd35428ca" ns2:_="" ns3:_="">
    <xsd:import namespace="e08734c1-1c48-445b-9442-0806596e1c33"/>
    <xsd:import namespace="facbd53a-28c0-48d4-b28c-fcfb152d4a3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3:TaxCatchAll" minOccurs="0"/>
                <xsd:element ref="ns2:lcf76f155ced4ddcb4097134ff3c332f"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8734c1-1c48-445b-9442-0806596e1c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36a257fb-28f5-49c4-92c3-d49665e8e1d3"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DateTaken" ma:index="21"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cbd53a-28c0-48d4-b28c-fcfb152d4a3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8d536079-9f26-4428-b424-16e463a0dafd}" ma:internalName="TaxCatchAll" ma:showField="CatchAllData" ma:web="facbd53a-28c0-48d4-b28c-fcfb152d4a3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2462562-E3AC-4C86-98F6-5A555AFF2B2F}">
  <ds:schemaRefs>
    <ds:schemaRef ds:uri="http://schemas.microsoft.com/sharepoint/v3/contenttype/forms"/>
  </ds:schemaRefs>
</ds:datastoreItem>
</file>

<file path=customXml/itemProps2.xml><?xml version="1.0" encoding="utf-8"?>
<ds:datastoreItem xmlns:ds="http://schemas.openxmlformats.org/officeDocument/2006/customXml" ds:itemID="{BF32E933-9A93-402C-AB82-960DE066BF97}">
  <ds:schemaRefs>
    <ds:schemaRef ds:uri="http://schemas.microsoft.com/office/2006/metadata/properties"/>
    <ds:schemaRef ds:uri="http://schemas.microsoft.com/office/infopath/2007/PartnerControls"/>
    <ds:schemaRef ds:uri="facbd53a-28c0-48d4-b28c-fcfb152d4a3f"/>
    <ds:schemaRef ds:uri="e08734c1-1c48-445b-9442-0806596e1c33"/>
  </ds:schemaRefs>
</ds:datastoreItem>
</file>

<file path=customXml/itemProps3.xml><?xml version="1.0" encoding="utf-8"?>
<ds:datastoreItem xmlns:ds="http://schemas.openxmlformats.org/officeDocument/2006/customXml" ds:itemID="{3A06BAED-2CC0-446E-9B78-D66B152760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8734c1-1c48-445b-9442-0806596e1c33"/>
    <ds:schemaRef ds:uri="facbd53a-28c0-48d4-b28c-fcfb152d4a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G OMD PPT Template 2020_Basic</Template>
  <TotalTime>448</TotalTime>
  <Words>1345</Words>
  <Application>Microsoft Office PowerPoint</Application>
  <PresentationFormat>Widescreen</PresentationFormat>
  <Paragraphs>178</Paragraphs>
  <Slides>17</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Arial</vt:lpstr>
      <vt:lpstr>Wingdings</vt:lpstr>
      <vt:lpstr>Arial Narrow Regular</vt:lpstr>
      <vt:lpstr>Oswald</vt:lpstr>
      <vt:lpstr>Century Gothic</vt:lpstr>
      <vt:lpstr>Oswald Light</vt:lpstr>
      <vt:lpstr>1_MG OMD Template - Oct 2018</vt:lpstr>
      <vt:lpstr>think-cell Slide</vt:lpstr>
      <vt:lpstr>PowerPoint Presentation</vt:lpstr>
      <vt:lpstr>PowerPoint Presentation</vt:lpstr>
      <vt:lpstr>Decision Funnel analysis</vt:lpstr>
      <vt:lpstr>BRAND EQUITY RELATIONSHIPS</vt:lpstr>
      <vt:lpstr>STATIC FUNNELS</vt:lpstr>
      <vt:lpstr>PowerPoint Presentation</vt:lpstr>
      <vt:lpstr>We propose both static and dynamic funnels</vt:lpstr>
      <vt:lpstr>A 2 parts project</vt:lpstr>
      <vt:lpstr>Why do we need 2 parts?</vt:lpstr>
      <vt:lpstr>Mid campaign dip: Causal Impact Analysis</vt:lpstr>
      <vt:lpstr>PowerPoint Presentation</vt:lpstr>
      <vt:lpstr>Example of static funnels: compare vs. market or specific brands</vt:lpstr>
      <vt:lpstr>Example of static funnels: can we measure an impact mid-burst?</vt:lpstr>
      <vt:lpstr>How dynamic funnels work</vt:lpstr>
      <vt:lpstr>PowerPoint Presentation</vt:lpstr>
      <vt:lpstr>Cost</vt:lpstr>
      <vt:lpstr>Timings a for full projec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Federico Forti (Annalect UK)</dc:creator>
  <cp:keywords/>
  <dc:description/>
  <cp:lastModifiedBy>Marisa Matey-Hernandez (Manning Gottlieb OMD)</cp:lastModifiedBy>
  <cp:revision>4</cp:revision>
  <cp:lastPrinted>2020-01-10T12:22:06Z</cp:lastPrinted>
  <dcterms:created xsi:type="dcterms:W3CDTF">2022-01-10T15:20:32Z</dcterms:created>
  <dcterms:modified xsi:type="dcterms:W3CDTF">2022-07-28T08:42:0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7AC0F0FDC4A84AAC39DFFE36CBC947</vt:lpwstr>
  </property>
  <property fmtid="{D5CDD505-2E9C-101B-9397-08002B2CF9AE}" pid="3" name="MediaServiceImageTags">
    <vt:lpwstr/>
  </property>
</Properties>
</file>